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831" r:id="rId2"/>
    <p:sldId id="836" r:id="rId3"/>
    <p:sldId id="744" r:id="rId4"/>
    <p:sldId id="853" r:id="rId5"/>
    <p:sldId id="875" r:id="rId6"/>
    <p:sldId id="786" r:id="rId7"/>
    <p:sldId id="865" r:id="rId8"/>
    <p:sldId id="798" r:id="rId9"/>
    <p:sldId id="823" r:id="rId10"/>
    <p:sldId id="873" r:id="rId11"/>
    <p:sldId id="874" r:id="rId12"/>
    <p:sldId id="872" r:id="rId13"/>
  </p:sldIdLst>
  <p:sldSz cx="9144000" cy="5143500" type="screen16x9"/>
  <p:notesSz cx="6858000" cy="9144000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4B3A4"/>
    <a:srgbClr val="769B37"/>
    <a:srgbClr val="829662"/>
    <a:srgbClr val="BA421E"/>
    <a:srgbClr val="0A0106"/>
    <a:srgbClr val="D4631E"/>
    <a:srgbClr val="E1732F"/>
    <a:srgbClr val="31302E"/>
    <a:srgbClr val="DB532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深色样式 1 - 强调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深色样式 1 - 强调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BC89EF96-8CEA-46FF-86C4-4CE0E7609802}" styleName="浅色样式 3 - 强调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B1032C-EA38-4F05-BA0D-38AFFFC7BED3}" styleName="浅色样式 3 - 强调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E8034E78-7F5D-4C2E-B375-FC64B27BC917}" styleName="深色样式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483" autoAdjust="0"/>
    <p:restoredTop sz="95494" autoAdjust="0"/>
  </p:normalViewPr>
  <p:slideViewPr>
    <p:cSldViewPr>
      <p:cViewPr>
        <p:scale>
          <a:sx n="100" d="100"/>
          <a:sy n="100" d="100"/>
        </p:scale>
        <p:origin x="-642" y="162"/>
      </p:cViewPr>
      <p:guideLst>
        <p:guide orient="horz" pos="1620"/>
        <p:guide pos="2880"/>
      </p:guideLst>
    </p:cSldViewPr>
  </p:slideViewPr>
  <p:notesTextViewPr>
    <p:cViewPr>
      <p:scale>
        <a:sx n="25" d="100"/>
        <a:sy n="2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D49BCFA-E228-4F89-9668-A01A8EE22F60}" type="doc">
      <dgm:prSet loTypeId="urn:microsoft.com/office/officeart/2008/layout/VerticalAccent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zh-TW" altLang="en-US"/>
        </a:p>
      </dgm:t>
    </dgm:pt>
    <dgm:pt modelId="{5D496DC7-DAF9-48DB-B1FD-F629B2A41BB8}">
      <dgm:prSet phldrT="[文字]"/>
      <dgm:spPr/>
      <dgm:t>
        <a:bodyPr/>
        <a:lstStyle/>
        <a:p>
          <a:r>
            <a:rPr lang="zh-TW" altLang="en-US" b="1" dirty="0" smtClean="0">
              <a:solidFill>
                <a:srgbClr val="C00000"/>
              </a:solidFill>
            </a:rPr>
            <a:t>分組活動</a:t>
          </a:r>
          <a:endParaRPr lang="zh-TW" altLang="en-US" b="1" dirty="0">
            <a:solidFill>
              <a:srgbClr val="C00000"/>
            </a:solidFill>
          </a:endParaRPr>
        </a:p>
      </dgm:t>
    </dgm:pt>
    <dgm:pt modelId="{6A3F91BB-D60D-4118-BB45-2004A520A37C}" type="parTrans" cxnId="{B577FBA6-DBE6-4409-9697-970C3B977702}">
      <dgm:prSet/>
      <dgm:spPr/>
      <dgm:t>
        <a:bodyPr/>
        <a:lstStyle/>
        <a:p>
          <a:endParaRPr lang="zh-TW" altLang="en-US"/>
        </a:p>
      </dgm:t>
    </dgm:pt>
    <dgm:pt modelId="{686206EC-B308-4BBC-8DB1-3DBD380B27E4}" type="sibTrans" cxnId="{B577FBA6-DBE6-4409-9697-970C3B977702}">
      <dgm:prSet/>
      <dgm:spPr/>
      <dgm:t>
        <a:bodyPr/>
        <a:lstStyle/>
        <a:p>
          <a:endParaRPr lang="zh-TW" altLang="en-US"/>
        </a:p>
      </dgm:t>
    </dgm:pt>
    <dgm:pt modelId="{41EFD62B-6025-4293-9968-188352A2B2C9}">
      <dgm:prSet phldrT="[文字]" custT="1"/>
      <dgm:spPr/>
      <dgm:t>
        <a:bodyPr/>
        <a:lstStyle/>
        <a:p>
          <a:r>
            <a:rPr lang="zh-TW" altLang="en-US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表演</a:t>
          </a:r>
          <a:r>
            <a:rPr lang="en-US" altLang="zh-TW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/</a:t>
          </a:r>
          <a:r>
            <a:rPr lang="zh-TW" altLang="en-US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學習單</a:t>
          </a:r>
        </a:p>
      </dgm:t>
    </dgm:pt>
    <dgm:pt modelId="{BCF2BD78-1426-4AC1-9E33-932B552343B1}" type="parTrans" cxnId="{715792AA-8F6C-4CA8-AFCF-434506C0B898}">
      <dgm:prSet/>
      <dgm:spPr/>
      <dgm:t>
        <a:bodyPr/>
        <a:lstStyle/>
        <a:p>
          <a:endParaRPr lang="zh-TW" altLang="en-US"/>
        </a:p>
      </dgm:t>
    </dgm:pt>
    <dgm:pt modelId="{F9FCFF10-94BB-4C7A-B009-D40D806F3D60}" type="sibTrans" cxnId="{715792AA-8F6C-4CA8-AFCF-434506C0B898}">
      <dgm:prSet/>
      <dgm:spPr/>
      <dgm:t>
        <a:bodyPr/>
        <a:lstStyle/>
        <a:p>
          <a:endParaRPr lang="zh-TW" altLang="en-US"/>
        </a:p>
      </dgm:t>
    </dgm:pt>
    <dgm:pt modelId="{AE4C8358-0594-473B-8B1A-E205D6ADEEE5}">
      <dgm:prSet phldrT="[文字]"/>
      <dgm:spPr/>
      <dgm:t>
        <a:bodyPr/>
        <a:lstStyle/>
        <a:p>
          <a:r>
            <a:rPr lang="zh-TW" altLang="en-US" b="1" dirty="0" smtClean="0">
              <a:solidFill>
                <a:srgbClr val="C00000"/>
              </a:solidFill>
            </a:rPr>
            <a:t>節慶教學</a:t>
          </a:r>
          <a:endParaRPr lang="zh-TW" altLang="en-US" b="1" dirty="0">
            <a:solidFill>
              <a:srgbClr val="C00000"/>
            </a:solidFill>
          </a:endParaRPr>
        </a:p>
      </dgm:t>
    </dgm:pt>
    <dgm:pt modelId="{95A3927A-C1E1-4B84-BCD1-A6774266B1AA}" type="parTrans" cxnId="{A607FC49-F9A2-4D46-8950-779077E611DF}">
      <dgm:prSet/>
      <dgm:spPr/>
      <dgm:t>
        <a:bodyPr/>
        <a:lstStyle/>
        <a:p>
          <a:endParaRPr lang="zh-TW" altLang="en-US"/>
        </a:p>
      </dgm:t>
    </dgm:pt>
    <dgm:pt modelId="{82EE72E4-B024-4CF9-9D04-DA28BA980734}" type="sibTrans" cxnId="{A607FC49-F9A2-4D46-8950-779077E611DF}">
      <dgm:prSet/>
      <dgm:spPr/>
      <dgm:t>
        <a:bodyPr/>
        <a:lstStyle/>
        <a:p>
          <a:endParaRPr lang="zh-TW" altLang="en-US"/>
        </a:p>
      </dgm:t>
    </dgm:pt>
    <dgm:pt modelId="{ED0EB37F-7EBA-4EAB-888C-F1362C20B0A9}">
      <dgm:prSet phldrT="[文字]" custT="1"/>
      <dgm:spPr/>
      <dgm:t>
        <a:bodyPr/>
        <a:lstStyle/>
        <a:p>
          <a:r>
            <a:rPr lang="en-US" altLang="zh-TW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Halloween /Christmas</a:t>
          </a:r>
        </a:p>
      </dgm:t>
    </dgm:pt>
    <dgm:pt modelId="{A4E16F8F-4969-43EF-BBB1-B796C37A18AF}" type="parTrans" cxnId="{0FC31934-A93E-4C13-A4A9-9D72E04C63D0}">
      <dgm:prSet/>
      <dgm:spPr/>
      <dgm:t>
        <a:bodyPr/>
        <a:lstStyle/>
        <a:p>
          <a:endParaRPr lang="zh-TW" altLang="en-US"/>
        </a:p>
      </dgm:t>
    </dgm:pt>
    <dgm:pt modelId="{F6AF0176-FC8A-4FF6-BBDF-083AAD14DEAF}" type="sibTrans" cxnId="{0FC31934-A93E-4C13-A4A9-9D72E04C63D0}">
      <dgm:prSet/>
      <dgm:spPr/>
      <dgm:t>
        <a:bodyPr/>
        <a:lstStyle/>
        <a:p>
          <a:endParaRPr lang="zh-TW" altLang="en-US"/>
        </a:p>
      </dgm:t>
    </dgm:pt>
    <dgm:pt modelId="{7C3EAC8C-284C-42AF-9181-82BC2A3E9EA7}">
      <dgm:prSet phldrT="[文字]"/>
      <dgm:spPr/>
      <dgm:t>
        <a:bodyPr/>
        <a:lstStyle/>
        <a:p>
          <a:r>
            <a:rPr lang="zh-TW" altLang="en-US" b="1" dirty="0" smtClean="0">
              <a:solidFill>
                <a:srgbClr val="C00000"/>
              </a:solidFill>
            </a:rPr>
            <a:t>書寫練習</a:t>
          </a:r>
          <a:endParaRPr lang="zh-TW" altLang="en-US" b="1" dirty="0">
            <a:solidFill>
              <a:srgbClr val="C00000"/>
            </a:solidFill>
          </a:endParaRPr>
        </a:p>
      </dgm:t>
    </dgm:pt>
    <dgm:pt modelId="{29EBC46B-8B67-4A50-8F50-8982BE945EAB}" type="parTrans" cxnId="{2FF9B986-4830-45B0-B54D-06A1A3FD266E}">
      <dgm:prSet/>
      <dgm:spPr/>
      <dgm:t>
        <a:bodyPr/>
        <a:lstStyle/>
        <a:p>
          <a:endParaRPr lang="zh-TW" altLang="en-US"/>
        </a:p>
      </dgm:t>
    </dgm:pt>
    <dgm:pt modelId="{5CD4303A-2A22-4D53-BE49-B73F9B350F58}" type="sibTrans" cxnId="{2FF9B986-4830-45B0-B54D-06A1A3FD266E}">
      <dgm:prSet/>
      <dgm:spPr/>
      <dgm:t>
        <a:bodyPr/>
        <a:lstStyle/>
        <a:p>
          <a:endParaRPr lang="zh-TW" altLang="en-US"/>
        </a:p>
      </dgm:t>
    </dgm:pt>
    <dgm:pt modelId="{096179BB-2927-43D5-9EA9-E1C6FE9910C0}">
      <dgm:prSet phldrT="[文字]" custT="1"/>
      <dgm:spPr/>
      <dgm:t>
        <a:bodyPr/>
        <a:lstStyle/>
        <a:p>
          <a:r>
            <a:rPr lang="zh-TW" altLang="en-US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習作</a:t>
          </a:r>
          <a:r>
            <a:rPr lang="en-US" altLang="zh-TW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/</a:t>
          </a:r>
          <a:r>
            <a:rPr lang="zh-TW" altLang="en-US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練習簿</a:t>
          </a:r>
          <a:endParaRPr lang="zh-TW" altLang="en-US" sz="1800" dirty="0">
            <a:solidFill>
              <a:srgbClr val="7030A0"/>
            </a:solidFill>
            <a:latin typeface="王漢宗特圓體繁" panose="02020300000000000000" pitchFamily="18" charset="-120"/>
            <a:ea typeface="王漢宗特圓體繁" panose="02020300000000000000" pitchFamily="18" charset="-120"/>
          </a:endParaRPr>
        </a:p>
      </dgm:t>
    </dgm:pt>
    <dgm:pt modelId="{064E6E0E-0BF4-46AE-BAE5-81980AB18E70}" type="parTrans" cxnId="{20103325-DB28-4594-B311-AD9A9454E085}">
      <dgm:prSet/>
      <dgm:spPr/>
      <dgm:t>
        <a:bodyPr/>
        <a:lstStyle/>
        <a:p>
          <a:endParaRPr lang="zh-TW" altLang="en-US"/>
        </a:p>
      </dgm:t>
    </dgm:pt>
    <dgm:pt modelId="{F7120978-4B01-4316-9E24-B90B549072CB}" type="sibTrans" cxnId="{20103325-DB28-4594-B311-AD9A9454E085}">
      <dgm:prSet/>
      <dgm:spPr/>
      <dgm:t>
        <a:bodyPr/>
        <a:lstStyle/>
        <a:p>
          <a:endParaRPr lang="zh-TW" altLang="en-US"/>
        </a:p>
      </dgm:t>
    </dgm:pt>
    <dgm:pt modelId="{6597211B-FACC-444B-A725-81A30AC9F084}">
      <dgm:prSet phldrT="[文字]"/>
      <dgm:spPr/>
      <dgm:t>
        <a:bodyPr/>
        <a:lstStyle/>
        <a:p>
          <a:r>
            <a:rPr lang="zh-TW" altLang="en-US" b="1" dirty="0" smtClean="0">
              <a:solidFill>
                <a:srgbClr val="C00000"/>
              </a:solidFill>
            </a:rPr>
            <a:t>歌曲</a:t>
          </a:r>
          <a:r>
            <a:rPr lang="en-US" altLang="zh-TW" b="1" dirty="0" smtClean="0">
              <a:solidFill>
                <a:srgbClr val="C00000"/>
              </a:solidFill>
            </a:rPr>
            <a:t>/</a:t>
          </a:r>
          <a:r>
            <a:rPr lang="zh-TW" altLang="en-US" b="1" dirty="0" smtClean="0">
              <a:solidFill>
                <a:srgbClr val="C00000"/>
              </a:solidFill>
            </a:rPr>
            <a:t>繪本教學</a:t>
          </a:r>
          <a:endParaRPr lang="zh-TW" altLang="en-US" b="1" dirty="0">
            <a:solidFill>
              <a:srgbClr val="C00000"/>
            </a:solidFill>
          </a:endParaRPr>
        </a:p>
      </dgm:t>
    </dgm:pt>
    <dgm:pt modelId="{3F29F6A8-DBD7-48AA-AE08-2905B89ED56B}" type="parTrans" cxnId="{F9615210-5B96-4ADA-BB14-AC4264FB3B97}">
      <dgm:prSet/>
      <dgm:spPr/>
      <dgm:t>
        <a:bodyPr/>
        <a:lstStyle/>
        <a:p>
          <a:endParaRPr lang="zh-TW" altLang="en-US"/>
        </a:p>
      </dgm:t>
    </dgm:pt>
    <dgm:pt modelId="{4C91C6D6-F841-4C58-8ABC-69213DC9730B}" type="sibTrans" cxnId="{F9615210-5B96-4ADA-BB14-AC4264FB3B97}">
      <dgm:prSet/>
      <dgm:spPr/>
      <dgm:t>
        <a:bodyPr/>
        <a:lstStyle/>
        <a:p>
          <a:endParaRPr lang="zh-TW" altLang="en-US"/>
        </a:p>
      </dgm:t>
    </dgm:pt>
    <dgm:pt modelId="{318F0C09-54D5-42A2-BCEE-0604F2DF3291}">
      <dgm:prSet phldrT="[文字]" custT="1"/>
      <dgm:spPr/>
      <dgm:t>
        <a:bodyPr/>
        <a:lstStyle/>
        <a:p>
          <a:pPr algn="l"/>
          <a:r>
            <a:rPr lang="zh-TW" altLang="en-US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小組口說練習</a:t>
          </a:r>
          <a:r>
            <a:rPr lang="en-US" altLang="zh-TW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/</a:t>
          </a:r>
          <a:r>
            <a:rPr lang="zh-TW" altLang="en-US" sz="18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表演</a:t>
          </a:r>
          <a:endParaRPr lang="zh-TW" altLang="en-US" sz="1800" dirty="0">
            <a:solidFill>
              <a:srgbClr val="7030A0"/>
            </a:solidFill>
            <a:latin typeface="王漢宗特圓體繁" panose="02020300000000000000" pitchFamily="18" charset="-120"/>
            <a:ea typeface="王漢宗特圓體繁" panose="02020300000000000000" pitchFamily="18" charset="-120"/>
          </a:endParaRPr>
        </a:p>
      </dgm:t>
    </dgm:pt>
    <dgm:pt modelId="{D07178CE-4D97-4850-8E55-8187A1FDEDAC}" type="parTrans" cxnId="{9E5FBD1A-9688-4183-8FEF-5367F0A9AAD7}">
      <dgm:prSet/>
      <dgm:spPr/>
      <dgm:t>
        <a:bodyPr/>
        <a:lstStyle/>
        <a:p>
          <a:endParaRPr lang="zh-TW" altLang="en-US"/>
        </a:p>
      </dgm:t>
    </dgm:pt>
    <dgm:pt modelId="{D16DB2B0-C5EF-49AD-AAF8-CA602E4AF0AD}" type="sibTrans" cxnId="{9E5FBD1A-9688-4183-8FEF-5367F0A9AAD7}">
      <dgm:prSet/>
      <dgm:spPr/>
      <dgm:t>
        <a:bodyPr/>
        <a:lstStyle/>
        <a:p>
          <a:endParaRPr lang="zh-TW" altLang="en-US"/>
        </a:p>
      </dgm:t>
    </dgm:pt>
    <dgm:pt modelId="{2DD2E03F-507A-48CB-A0A5-21CA4A8E2ED3}" type="pres">
      <dgm:prSet presAssocID="{DD49BCFA-E228-4F89-9668-A01A8EE22F60}" presName="Name0" presStyleCnt="0">
        <dgm:presLayoutVars>
          <dgm:chMax/>
          <dgm:chPref/>
          <dgm:dir/>
        </dgm:presLayoutVars>
      </dgm:prSet>
      <dgm:spPr/>
    </dgm:pt>
    <dgm:pt modelId="{62285703-9AD4-44CF-9258-6D95866B3F35}" type="pres">
      <dgm:prSet presAssocID="{5D496DC7-DAF9-48DB-B1FD-F629B2A41BB8}" presName="parenttextcomposite" presStyleCnt="0"/>
      <dgm:spPr/>
    </dgm:pt>
    <dgm:pt modelId="{51658907-76D9-4EBE-93BD-E6290F8F10AC}" type="pres">
      <dgm:prSet presAssocID="{5D496DC7-DAF9-48DB-B1FD-F629B2A41BB8}" presName="parenttext" presStyleLbl="revTx" presStyleIdx="0" presStyleCnt="4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DBD99F66-045B-4246-B0BA-63F962D5779E}" type="pres">
      <dgm:prSet presAssocID="{5D496DC7-DAF9-48DB-B1FD-F629B2A41BB8}" presName="composite" presStyleCnt="0"/>
      <dgm:spPr/>
    </dgm:pt>
    <dgm:pt modelId="{40AEC3F6-595F-419C-9175-C203AD19A463}" type="pres">
      <dgm:prSet presAssocID="{5D496DC7-DAF9-48DB-B1FD-F629B2A41BB8}" presName="chevron1" presStyleLbl="alignNode1" presStyleIdx="0" presStyleCnt="28"/>
      <dgm:spPr/>
    </dgm:pt>
    <dgm:pt modelId="{05CDAA29-24F7-48AD-8925-4E6EEBC0CF25}" type="pres">
      <dgm:prSet presAssocID="{5D496DC7-DAF9-48DB-B1FD-F629B2A41BB8}" presName="chevron2" presStyleLbl="alignNode1" presStyleIdx="1" presStyleCnt="28"/>
      <dgm:spPr/>
    </dgm:pt>
    <dgm:pt modelId="{EB790199-A7EC-45B3-96AA-0295ABD3A008}" type="pres">
      <dgm:prSet presAssocID="{5D496DC7-DAF9-48DB-B1FD-F629B2A41BB8}" presName="chevron3" presStyleLbl="alignNode1" presStyleIdx="2" presStyleCnt="28"/>
      <dgm:spPr/>
    </dgm:pt>
    <dgm:pt modelId="{C189AEF3-F2E2-425A-8EAE-9AA2BAC0095E}" type="pres">
      <dgm:prSet presAssocID="{5D496DC7-DAF9-48DB-B1FD-F629B2A41BB8}" presName="chevron4" presStyleLbl="alignNode1" presStyleIdx="3" presStyleCnt="28"/>
      <dgm:spPr/>
    </dgm:pt>
    <dgm:pt modelId="{19407F32-7781-4F25-88DE-A4A99B6799A4}" type="pres">
      <dgm:prSet presAssocID="{5D496DC7-DAF9-48DB-B1FD-F629B2A41BB8}" presName="chevron5" presStyleLbl="alignNode1" presStyleIdx="4" presStyleCnt="28"/>
      <dgm:spPr/>
    </dgm:pt>
    <dgm:pt modelId="{81974308-FD9E-4246-B815-718F4E01662F}" type="pres">
      <dgm:prSet presAssocID="{5D496DC7-DAF9-48DB-B1FD-F629B2A41BB8}" presName="chevron6" presStyleLbl="alignNode1" presStyleIdx="5" presStyleCnt="28"/>
      <dgm:spPr/>
    </dgm:pt>
    <dgm:pt modelId="{D75250EC-49AC-456B-9260-92657F8AB965}" type="pres">
      <dgm:prSet presAssocID="{5D496DC7-DAF9-48DB-B1FD-F629B2A41BB8}" presName="chevron7" presStyleLbl="alignNode1" presStyleIdx="6" presStyleCnt="28"/>
      <dgm:spPr/>
    </dgm:pt>
    <dgm:pt modelId="{A594F1D6-8911-41DA-9C15-FB2E5C573BEC}" type="pres">
      <dgm:prSet presAssocID="{5D496DC7-DAF9-48DB-B1FD-F629B2A41BB8}" presName="childtext" presStyleLbl="solidFgAcc1" presStyleIdx="0" presStyleCnt="4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F92D8102-F244-4A8A-B64C-EB4D9F506FBB}" type="pres">
      <dgm:prSet presAssocID="{686206EC-B308-4BBC-8DB1-3DBD380B27E4}" presName="sibTrans" presStyleCnt="0"/>
      <dgm:spPr/>
    </dgm:pt>
    <dgm:pt modelId="{AF31D172-D32C-47EB-8259-FE394A73609D}" type="pres">
      <dgm:prSet presAssocID="{6597211B-FACC-444B-A725-81A30AC9F084}" presName="parenttextcomposite" presStyleCnt="0"/>
      <dgm:spPr/>
    </dgm:pt>
    <dgm:pt modelId="{E417F80F-F2C5-46FC-B70E-18A45A575119}" type="pres">
      <dgm:prSet presAssocID="{6597211B-FACC-444B-A725-81A30AC9F084}" presName="parenttext" presStyleLbl="revTx" presStyleIdx="1" presStyleCnt="4">
        <dgm:presLayoutVars>
          <dgm:chMax/>
          <dgm:chPref val="2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6ABD4198-8F00-4E34-A8A9-EF616D01711A}" type="pres">
      <dgm:prSet presAssocID="{6597211B-FACC-444B-A725-81A30AC9F084}" presName="composite" presStyleCnt="0"/>
      <dgm:spPr/>
    </dgm:pt>
    <dgm:pt modelId="{4EBBFA7D-13E1-4BFA-A2D6-3FD1E0E345BA}" type="pres">
      <dgm:prSet presAssocID="{6597211B-FACC-444B-A725-81A30AC9F084}" presName="chevron1" presStyleLbl="alignNode1" presStyleIdx="7" presStyleCnt="28"/>
      <dgm:spPr/>
    </dgm:pt>
    <dgm:pt modelId="{ECCFD12F-F9A0-4043-BE74-3A8B2B51816C}" type="pres">
      <dgm:prSet presAssocID="{6597211B-FACC-444B-A725-81A30AC9F084}" presName="chevron2" presStyleLbl="alignNode1" presStyleIdx="8" presStyleCnt="28"/>
      <dgm:spPr/>
    </dgm:pt>
    <dgm:pt modelId="{769B2FF6-7806-4E51-9AAB-05A64376E91D}" type="pres">
      <dgm:prSet presAssocID="{6597211B-FACC-444B-A725-81A30AC9F084}" presName="chevron3" presStyleLbl="alignNode1" presStyleIdx="9" presStyleCnt="28"/>
      <dgm:spPr/>
    </dgm:pt>
    <dgm:pt modelId="{78B96317-F6C5-40AE-A575-BD09C3FCC5C5}" type="pres">
      <dgm:prSet presAssocID="{6597211B-FACC-444B-A725-81A30AC9F084}" presName="chevron4" presStyleLbl="alignNode1" presStyleIdx="10" presStyleCnt="28"/>
      <dgm:spPr/>
    </dgm:pt>
    <dgm:pt modelId="{500F5B29-B784-4D36-80D3-F54221387908}" type="pres">
      <dgm:prSet presAssocID="{6597211B-FACC-444B-A725-81A30AC9F084}" presName="chevron5" presStyleLbl="alignNode1" presStyleIdx="11" presStyleCnt="28"/>
      <dgm:spPr/>
    </dgm:pt>
    <dgm:pt modelId="{54F208B6-0B65-4FEE-8ED0-5E6A43379851}" type="pres">
      <dgm:prSet presAssocID="{6597211B-FACC-444B-A725-81A30AC9F084}" presName="chevron6" presStyleLbl="alignNode1" presStyleIdx="12" presStyleCnt="28"/>
      <dgm:spPr/>
    </dgm:pt>
    <dgm:pt modelId="{7D0158A1-D2EA-4D90-A216-0481133BA9FA}" type="pres">
      <dgm:prSet presAssocID="{6597211B-FACC-444B-A725-81A30AC9F084}" presName="chevron7" presStyleLbl="alignNode1" presStyleIdx="13" presStyleCnt="28"/>
      <dgm:spPr/>
    </dgm:pt>
    <dgm:pt modelId="{5A799A1E-0A0A-479F-96AC-80C176F226EB}" type="pres">
      <dgm:prSet presAssocID="{6597211B-FACC-444B-A725-81A30AC9F084}" presName="childtext" presStyleLbl="solidFgAcc1" presStyleIdx="1" presStyleCnt="4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7A2D8054-09DB-4F6B-921A-A7FB2599968B}" type="pres">
      <dgm:prSet presAssocID="{4C91C6D6-F841-4C58-8ABC-69213DC9730B}" presName="sibTrans" presStyleCnt="0"/>
      <dgm:spPr/>
    </dgm:pt>
    <dgm:pt modelId="{ED750CA2-A831-4F22-8AC4-EF9DA267E659}" type="pres">
      <dgm:prSet presAssocID="{AE4C8358-0594-473B-8B1A-E205D6ADEEE5}" presName="parenttextcomposite" presStyleCnt="0"/>
      <dgm:spPr/>
    </dgm:pt>
    <dgm:pt modelId="{858EDF8B-2AC0-41A6-9E43-54315AA6D1F9}" type="pres">
      <dgm:prSet presAssocID="{AE4C8358-0594-473B-8B1A-E205D6ADEEE5}" presName="parenttext" presStyleLbl="revTx" presStyleIdx="2" presStyleCnt="4">
        <dgm:presLayoutVars>
          <dgm:chMax/>
          <dgm:chPref val="2"/>
          <dgm:bulletEnabled val="1"/>
        </dgm:presLayoutVars>
      </dgm:prSet>
      <dgm:spPr/>
    </dgm:pt>
    <dgm:pt modelId="{9642CB0E-F118-4F32-BB3C-C1063C9281C6}" type="pres">
      <dgm:prSet presAssocID="{AE4C8358-0594-473B-8B1A-E205D6ADEEE5}" presName="composite" presStyleCnt="0"/>
      <dgm:spPr/>
    </dgm:pt>
    <dgm:pt modelId="{CD12AB8A-598A-4F94-9826-28A80C4787B4}" type="pres">
      <dgm:prSet presAssocID="{AE4C8358-0594-473B-8B1A-E205D6ADEEE5}" presName="chevron1" presStyleLbl="alignNode1" presStyleIdx="14" presStyleCnt="28"/>
      <dgm:spPr/>
    </dgm:pt>
    <dgm:pt modelId="{29DF844B-941E-448E-8A16-3B3421133C8B}" type="pres">
      <dgm:prSet presAssocID="{AE4C8358-0594-473B-8B1A-E205D6ADEEE5}" presName="chevron2" presStyleLbl="alignNode1" presStyleIdx="15" presStyleCnt="28"/>
      <dgm:spPr/>
    </dgm:pt>
    <dgm:pt modelId="{903A919C-236A-4838-AF39-3F8CFC2490DD}" type="pres">
      <dgm:prSet presAssocID="{AE4C8358-0594-473B-8B1A-E205D6ADEEE5}" presName="chevron3" presStyleLbl="alignNode1" presStyleIdx="16" presStyleCnt="28"/>
      <dgm:spPr/>
    </dgm:pt>
    <dgm:pt modelId="{7AD68171-BBC5-402A-8C7A-AAE27D4A752D}" type="pres">
      <dgm:prSet presAssocID="{AE4C8358-0594-473B-8B1A-E205D6ADEEE5}" presName="chevron4" presStyleLbl="alignNode1" presStyleIdx="17" presStyleCnt="28"/>
      <dgm:spPr/>
    </dgm:pt>
    <dgm:pt modelId="{C4AAC94F-E980-4B77-9234-89E25B77CEDC}" type="pres">
      <dgm:prSet presAssocID="{AE4C8358-0594-473B-8B1A-E205D6ADEEE5}" presName="chevron5" presStyleLbl="alignNode1" presStyleIdx="18" presStyleCnt="28"/>
      <dgm:spPr/>
    </dgm:pt>
    <dgm:pt modelId="{19AA139B-7A83-4DC3-983E-2F068631978B}" type="pres">
      <dgm:prSet presAssocID="{AE4C8358-0594-473B-8B1A-E205D6ADEEE5}" presName="chevron6" presStyleLbl="alignNode1" presStyleIdx="19" presStyleCnt="28"/>
      <dgm:spPr/>
    </dgm:pt>
    <dgm:pt modelId="{10C7BC8A-1F8C-4B9D-BE81-6A471016A1EF}" type="pres">
      <dgm:prSet presAssocID="{AE4C8358-0594-473B-8B1A-E205D6ADEEE5}" presName="chevron7" presStyleLbl="alignNode1" presStyleIdx="20" presStyleCnt="28"/>
      <dgm:spPr/>
    </dgm:pt>
    <dgm:pt modelId="{285D369E-34C8-4795-888E-5BA03EE1FBAD}" type="pres">
      <dgm:prSet presAssocID="{AE4C8358-0594-473B-8B1A-E205D6ADEEE5}" presName="childtext" presStyleLbl="solidFgAcc1" presStyleIdx="2" presStyleCnt="4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  <dgm:pt modelId="{881F0F11-B712-4B2F-B253-5455CBAB6688}" type="pres">
      <dgm:prSet presAssocID="{82EE72E4-B024-4CF9-9D04-DA28BA980734}" presName="sibTrans" presStyleCnt="0"/>
      <dgm:spPr/>
    </dgm:pt>
    <dgm:pt modelId="{A4F66E42-3061-4C6A-AF96-8BE4D9E5D941}" type="pres">
      <dgm:prSet presAssocID="{7C3EAC8C-284C-42AF-9181-82BC2A3E9EA7}" presName="parenttextcomposite" presStyleCnt="0"/>
      <dgm:spPr/>
    </dgm:pt>
    <dgm:pt modelId="{B7D5E88E-6C44-4381-89E3-D5B6F62282AE}" type="pres">
      <dgm:prSet presAssocID="{7C3EAC8C-284C-42AF-9181-82BC2A3E9EA7}" presName="parenttext" presStyleLbl="revTx" presStyleIdx="3" presStyleCnt="4">
        <dgm:presLayoutVars>
          <dgm:chMax/>
          <dgm:chPref val="2"/>
          <dgm:bulletEnabled val="1"/>
        </dgm:presLayoutVars>
      </dgm:prSet>
      <dgm:spPr/>
    </dgm:pt>
    <dgm:pt modelId="{D0327A73-95CA-40F1-A082-21F72E16018E}" type="pres">
      <dgm:prSet presAssocID="{7C3EAC8C-284C-42AF-9181-82BC2A3E9EA7}" presName="composite" presStyleCnt="0"/>
      <dgm:spPr/>
    </dgm:pt>
    <dgm:pt modelId="{4E82B6D8-B85C-4830-9062-818933ECEF6B}" type="pres">
      <dgm:prSet presAssocID="{7C3EAC8C-284C-42AF-9181-82BC2A3E9EA7}" presName="chevron1" presStyleLbl="alignNode1" presStyleIdx="21" presStyleCnt="28"/>
      <dgm:spPr/>
    </dgm:pt>
    <dgm:pt modelId="{9C3CED50-CF34-46BB-9071-14C554FDE7BA}" type="pres">
      <dgm:prSet presAssocID="{7C3EAC8C-284C-42AF-9181-82BC2A3E9EA7}" presName="chevron2" presStyleLbl="alignNode1" presStyleIdx="22" presStyleCnt="28"/>
      <dgm:spPr/>
    </dgm:pt>
    <dgm:pt modelId="{131B876E-497B-40D4-A03F-B2B7AF1D67BC}" type="pres">
      <dgm:prSet presAssocID="{7C3EAC8C-284C-42AF-9181-82BC2A3E9EA7}" presName="chevron3" presStyleLbl="alignNode1" presStyleIdx="23" presStyleCnt="28"/>
      <dgm:spPr/>
    </dgm:pt>
    <dgm:pt modelId="{E54A717B-9E3E-49E2-8373-662621F9792B}" type="pres">
      <dgm:prSet presAssocID="{7C3EAC8C-284C-42AF-9181-82BC2A3E9EA7}" presName="chevron4" presStyleLbl="alignNode1" presStyleIdx="24" presStyleCnt="28"/>
      <dgm:spPr/>
    </dgm:pt>
    <dgm:pt modelId="{7AAE1050-8E6F-4117-82E9-97361824C480}" type="pres">
      <dgm:prSet presAssocID="{7C3EAC8C-284C-42AF-9181-82BC2A3E9EA7}" presName="chevron5" presStyleLbl="alignNode1" presStyleIdx="25" presStyleCnt="28"/>
      <dgm:spPr/>
    </dgm:pt>
    <dgm:pt modelId="{B409801E-33AA-4442-8EEB-05913C84AC63}" type="pres">
      <dgm:prSet presAssocID="{7C3EAC8C-284C-42AF-9181-82BC2A3E9EA7}" presName="chevron6" presStyleLbl="alignNode1" presStyleIdx="26" presStyleCnt="28"/>
      <dgm:spPr/>
    </dgm:pt>
    <dgm:pt modelId="{5455A47C-F389-4E4F-8F3B-E52268322C93}" type="pres">
      <dgm:prSet presAssocID="{7C3EAC8C-284C-42AF-9181-82BC2A3E9EA7}" presName="chevron7" presStyleLbl="alignNode1" presStyleIdx="27" presStyleCnt="28"/>
      <dgm:spPr/>
    </dgm:pt>
    <dgm:pt modelId="{30A39ADC-C070-4034-9FF4-AF64F6172456}" type="pres">
      <dgm:prSet presAssocID="{7C3EAC8C-284C-42AF-9181-82BC2A3E9EA7}" presName="childtext" presStyleLbl="solidFgAcc1" presStyleIdx="3" presStyleCnt="4">
        <dgm:presLayoutVars>
          <dgm:chMax/>
          <dgm:chPref val="0"/>
          <dgm:bulletEnabled val="1"/>
        </dgm:presLayoutVars>
      </dgm:prSet>
      <dgm:spPr/>
      <dgm:t>
        <a:bodyPr/>
        <a:lstStyle/>
        <a:p>
          <a:endParaRPr lang="zh-TW" altLang="en-US"/>
        </a:p>
      </dgm:t>
    </dgm:pt>
  </dgm:ptLst>
  <dgm:cxnLst>
    <dgm:cxn modelId="{39BA5985-4DCD-4A4D-A88B-8237F5B49E3C}" type="presOf" srcId="{7C3EAC8C-284C-42AF-9181-82BC2A3E9EA7}" destId="{B7D5E88E-6C44-4381-89E3-D5B6F62282AE}" srcOrd="0" destOrd="0" presId="urn:microsoft.com/office/officeart/2008/layout/VerticalAccentList"/>
    <dgm:cxn modelId="{5B396CAA-8635-4328-A6C4-D2F4EE4D50C3}" type="presOf" srcId="{41EFD62B-6025-4293-9968-188352A2B2C9}" destId="{5A799A1E-0A0A-479F-96AC-80C176F226EB}" srcOrd="0" destOrd="0" presId="urn:microsoft.com/office/officeart/2008/layout/VerticalAccentList"/>
    <dgm:cxn modelId="{1F500E07-47B0-425E-A5FB-192F4AF7409C}" type="presOf" srcId="{5D496DC7-DAF9-48DB-B1FD-F629B2A41BB8}" destId="{51658907-76D9-4EBE-93BD-E6290F8F10AC}" srcOrd="0" destOrd="0" presId="urn:microsoft.com/office/officeart/2008/layout/VerticalAccentList"/>
    <dgm:cxn modelId="{2FF9B986-4830-45B0-B54D-06A1A3FD266E}" srcId="{DD49BCFA-E228-4F89-9668-A01A8EE22F60}" destId="{7C3EAC8C-284C-42AF-9181-82BC2A3E9EA7}" srcOrd="3" destOrd="0" parTransId="{29EBC46B-8B67-4A50-8F50-8982BE945EAB}" sibTransId="{5CD4303A-2A22-4D53-BE49-B73F9B350F58}"/>
    <dgm:cxn modelId="{0FC31934-A93E-4C13-A4A9-9D72E04C63D0}" srcId="{AE4C8358-0594-473B-8B1A-E205D6ADEEE5}" destId="{ED0EB37F-7EBA-4EAB-888C-F1362C20B0A9}" srcOrd="0" destOrd="0" parTransId="{A4E16F8F-4969-43EF-BBB1-B796C37A18AF}" sibTransId="{F6AF0176-FC8A-4FF6-BBDF-083AAD14DEAF}"/>
    <dgm:cxn modelId="{A607FC49-F9A2-4D46-8950-779077E611DF}" srcId="{DD49BCFA-E228-4F89-9668-A01A8EE22F60}" destId="{AE4C8358-0594-473B-8B1A-E205D6ADEEE5}" srcOrd="2" destOrd="0" parTransId="{95A3927A-C1E1-4B84-BCD1-A6774266B1AA}" sibTransId="{82EE72E4-B024-4CF9-9D04-DA28BA980734}"/>
    <dgm:cxn modelId="{C260BA5B-2E35-43AD-A220-5ED8B4DF4395}" type="presOf" srcId="{ED0EB37F-7EBA-4EAB-888C-F1362C20B0A9}" destId="{285D369E-34C8-4795-888E-5BA03EE1FBAD}" srcOrd="0" destOrd="0" presId="urn:microsoft.com/office/officeart/2008/layout/VerticalAccentList"/>
    <dgm:cxn modelId="{20103325-DB28-4594-B311-AD9A9454E085}" srcId="{7C3EAC8C-284C-42AF-9181-82BC2A3E9EA7}" destId="{096179BB-2927-43D5-9EA9-E1C6FE9910C0}" srcOrd="0" destOrd="0" parTransId="{064E6E0E-0BF4-46AE-BAE5-81980AB18E70}" sibTransId="{F7120978-4B01-4316-9E24-B90B549072CB}"/>
    <dgm:cxn modelId="{B577FBA6-DBE6-4409-9697-970C3B977702}" srcId="{DD49BCFA-E228-4F89-9668-A01A8EE22F60}" destId="{5D496DC7-DAF9-48DB-B1FD-F629B2A41BB8}" srcOrd="0" destOrd="0" parTransId="{6A3F91BB-D60D-4118-BB45-2004A520A37C}" sibTransId="{686206EC-B308-4BBC-8DB1-3DBD380B27E4}"/>
    <dgm:cxn modelId="{FEF26B33-D033-479D-827F-AA35D0A698B5}" type="presOf" srcId="{AE4C8358-0594-473B-8B1A-E205D6ADEEE5}" destId="{858EDF8B-2AC0-41A6-9E43-54315AA6D1F9}" srcOrd="0" destOrd="0" presId="urn:microsoft.com/office/officeart/2008/layout/VerticalAccentList"/>
    <dgm:cxn modelId="{3D7FB475-ACA7-4296-8099-6B9CBBA00636}" type="presOf" srcId="{318F0C09-54D5-42A2-BCEE-0604F2DF3291}" destId="{A594F1D6-8911-41DA-9C15-FB2E5C573BEC}" srcOrd="0" destOrd="0" presId="urn:microsoft.com/office/officeart/2008/layout/VerticalAccentList"/>
    <dgm:cxn modelId="{2BE212D4-469F-4DC1-961C-ACCE724ECA4C}" type="presOf" srcId="{096179BB-2927-43D5-9EA9-E1C6FE9910C0}" destId="{30A39ADC-C070-4034-9FF4-AF64F6172456}" srcOrd="0" destOrd="0" presId="urn:microsoft.com/office/officeart/2008/layout/VerticalAccentList"/>
    <dgm:cxn modelId="{9E5FBD1A-9688-4183-8FEF-5367F0A9AAD7}" srcId="{5D496DC7-DAF9-48DB-B1FD-F629B2A41BB8}" destId="{318F0C09-54D5-42A2-BCEE-0604F2DF3291}" srcOrd="0" destOrd="0" parTransId="{D07178CE-4D97-4850-8E55-8187A1FDEDAC}" sibTransId="{D16DB2B0-C5EF-49AD-AAF8-CA602E4AF0AD}"/>
    <dgm:cxn modelId="{E5681A4E-53D2-445E-8364-C9B41DC03C7E}" type="presOf" srcId="{6597211B-FACC-444B-A725-81A30AC9F084}" destId="{E417F80F-F2C5-46FC-B70E-18A45A575119}" srcOrd="0" destOrd="0" presId="urn:microsoft.com/office/officeart/2008/layout/VerticalAccentList"/>
    <dgm:cxn modelId="{715792AA-8F6C-4CA8-AFCF-434506C0B898}" srcId="{6597211B-FACC-444B-A725-81A30AC9F084}" destId="{41EFD62B-6025-4293-9968-188352A2B2C9}" srcOrd="0" destOrd="0" parTransId="{BCF2BD78-1426-4AC1-9E33-932B552343B1}" sibTransId="{F9FCFF10-94BB-4C7A-B009-D40D806F3D60}"/>
    <dgm:cxn modelId="{A64AE7BE-0FD6-4432-A08C-98D83909EF03}" type="presOf" srcId="{DD49BCFA-E228-4F89-9668-A01A8EE22F60}" destId="{2DD2E03F-507A-48CB-A0A5-21CA4A8E2ED3}" srcOrd="0" destOrd="0" presId="urn:microsoft.com/office/officeart/2008/layout/VerticalAccentList"/>
    <dgm:cxn modelId="{F9615210-5B96-4ADA-BB14-AC4264FB3B97}" srcId="{DD49BCFA-E228-4F89-9668-A01A8EE22F60}" destId="{6597211B-FACC-444B-A725-81A30AC9F084}" srcOrd="1" destOrd="0" parTransId="{3F29F6A8-DBD7-48AA-AE08-2905B89ED56B}" sibTransId="{4C91C6D6-F841-4C58-8ABC-69213DC9730B}"/>
    <dgm:cxn modelId="{91D45395-C8B1-4577-A9BB-95915F0AA522}" type="presParOf" srcId="{2DD2E03F-507A-48CB-A0A5-21CA4A8E2ED3}" destId="{62285703-9AD4-44CF-9258-6D95866B3F35}" srcOrd="0" destOrd="0" presId="urn:microsoft.com/office/officeart/2008/layout/VerticalAccentList"/>
    <dgm:cxn modelId="{A901224B-8E08-4014-B541-E803B923387D}" type="presParOf" srcId="{62285703-9AD4-44CF-9258-6D95866B3F35}" destId="{51658907-76D9-4EBE-93BD-E6290F8F10AC}" srcOrd="0" destOrd="0" presId="urn:microsoft.com/office/officeart/2008/layout/VerticalAccentList"/>
    <dgm:cxn modelId="{B8783AA3-5127-41F4-B7CD-98E56EB174DE}" type="presParOf" srcId="{2DD2E03F-507A-48CB-A0A5-21CA4A8E2ED3}" destId="{DBD99F66-045B-4246-B0BA-63F962D5779E}" srcOrd="1" destOrd="0" presId="urn:microsoft.com/office/officeart/2008/layout/VerticalAccentList"/>
    <dgm:cxn modelId="{A25E4670-FD91-4DF9-B4BE-5F34506FC15E}" type="presParOf" srcId="{DBD99F66-045B-4246-B0BA-63F962D5779E}" destId="{40AEC3F6-595F-419C-9175-C203AD19A463}" srcOrd="0" destOrd="0" presId="urn:microsoft.com/office/officeart/2008/layout/VerticalAccentList"/>
    <dgm:cxn modelId="{CB2925DF-D06B-4CD4-845F-82D529B6CF20}" type="presParOf" srcId="{DBD99F66-045B-4246-B0BA-63F962D5779E}" destId="{05CDAA29-24F7-48AD-8925-4E6EEBC0CF25}" srcOrd="1" destOrd="0" presId="urn:microsoft.com/office/officeart/2008/layout/VerticalAccentList"/>
    <dgm:cxn modelId="{CFD7D144-4C42-492B-84EC-C33AE4C53351}" type="presParOf" srcId="{DBD99F66-045B-4246-B0BA-63F962D5779E}" destId="{EB790199-A7EC-45B3-96AA-0295ABD3A008}" srcOrd="2" destOrd="0" presId="urn:microsoft.com/office/officeart/2008/layout/VerticalAccentList"/>
    <dgm:cxn modelId="{0584FA7D-8433-4ABC-8D66-41F95CE3B890}" type="presParOf" srcId="{DBD99F66-045B-4246-B0BA-63F962D5779E}" destId="{C189AEF3-F2E2-425A-8EAE-9AA2BAC0095E}" srcOrd="3" destOrd="0" presId="urn:microsoft.com/office/officeart/2008/layout/VerticalAccentList"/>
    <dgm:cxn modelId="{8D518DD2-C035-45E0-BD8B-8DDE728764A5}" type="presParOf" srcId="{DBD99F66-045B-4246-B0BA-63F962D5779E}" destId="{19407F32-7781-4F25-88DE-A4A99B6799A4}" srcOrd="4" destOrd="0" presId="urn:microsoft.com/office/officeart/2008/layout/VerticalAccentList"/>
    <dgm:cxn modelId="{2F1F1E3D-AE19-4411-91E6-047492195B5B}" type="presParOf" srcId="{DBD99F66-045B-4246-B0BA-63F962D5779E}" destId="{81974308-FD9E-4246-B815-718F4E01662F}" srcOrd="5" destOrd="0" presId="urn:microsoft.com/office/officeart/2008/layout/VerticalAccentList"/>
    <dgm:cxn modelId="{2329F7DA-E618-4B26-A1DB-2913E0F8A516}" type="presParOf" srcId="{DBD99F66-045B-4246-B0BA-63F962D5779E}" destId="{D75250EC-49AC-456B-9260-92657F8AB965}" srcOrd="6" destOrd="0" presId="urn:microsoft.com/office/officeart/2008/layout/VerticalAccentList"/>
    <dgm:cxn modelId="{172F0178-F613-4DEB-9086-B1EA2F7A0684}" type="presParOf" srcId="{DBD99F66-045B-4246-B0BA-63F962D5779E}" destId="{A594F1D6-8911-41DA-9C15-FB2E5C573BEC}" srcOrd="7" destOrd="0" presId="urn:microsoft.com/office/officeart/2008/layout/VerticalAccentList"/>
    <dgm:cxn modelId="{B73149B8-7715-4CA8-A4BB-4401D47FB503}" type="presParOf" srcId="{2DD2E03F-507A-48CB-A0A5-21CA4A8E2ED3}" destId="{F92D8102-F244-4A8A-B64C-EB4D9F506FBB}" srcOrd="2" destOrd="0" presId="urn:microsoft.com/office/officeart/2008/layout/VerticalAccentList"/>
    <dgm:cxn modelId="{80545256-32B9-42FF-B2E4-4FEDC68BE2E0}" type="presParOf" srcId="{2DD2E03F-507A-48CB-A0A5-21CA4A8E2ED3}" destId="{AF31D172-D32C-47EB-8259-FE394A73609D}" srcOrd="3" destOrd="0" presId="urn:microsoft.com/office/officeart/2008/layout/VerticalAccentList"/>
    <dgm:cxn modelId="{582A19E8-8E8C-4F5B-858B-38FBF77295F3}" type="presParOf" srcId="{AF31D172-D32C-47EB-8259-FE394A73609D}" destId="{E417F80F-F2C5-46FC-B70E-18A45A575119}" srcOrd="0" destOrd="0" presId="urn:microsoft.com/office/officeart/2008/layout/VerticalAccentList"/>
    <dgm:cxn modelId="{5A1B1EE3-D979-40D7-8E45-4FF090424AF9}" type="presParOf" srcId="{2DD2E03F-507A-48CB-A0A5-21CA4A8E2ED3}" destId="{6ABD4198-8F00-4E34-A8A9-EF616D01711A}" srcOrd="4" destOrd="0" presId="urn:microsoft.com/office/officeart/2008/layout/VerticalAccentList"/>
    <dgm:cxn modelId="{026AA901-CDB0-491A-A863-C4B337FE64F0}" type="presParOf" srcId="{6ABD4198-8F00-4E34-A8A9-EF616D01711A}" destId="{4EBBFA7D-13E1-4BFA-A2D6-3FD1E0E345BA}" srcOrd="0" destOrd="0" presId="urn:microsoft.com/office/officeart/2008/layout/VerticalAccentList"/>
    <dgm:cxn modelId="{C63CC752-7834-4FB3-ACCF-2235A93F9E94}" type="presParOf" srcId="{6ABD4198-8F00-4E34-A8A9-EF616D01711A}" destId="{ECCFD12F-F9A0-4043-BE74-3A8B2B51816C}" srcOrd="1" destOrd="0" presId="urn:microsoft.com/office/officeart/2008/layout/VerticalAccentList"/>
    <dgm:cxn modelId="{63343D61-332B-4388-9DAB-BB5F4341785D}" type="presParOf" srcId="{6ABD4198-8F00-4E34-A8A9-EF616D01711A}" destId="{769B2FF6-7806-4E51-9AAB-05A64376E91D}" srcOrd="2" destOrd="0" presId="urn:microsoft.com/office/officeart/2008/layout/VerticalAccentList"/>
    <dgm:cxn modelId="{0E79D7D4-FDEF-4B36-B995-8EA0247CFB3F}" type="presParOf" srcId="{6ABD4198-8F00-4E34-A8A9-EF616D01711A}" destId="{78B96317-F6C5-40AE-A575-BD09C3FCC5C5}" srcOrd="3" destOrd="0" presId="urn:microsoft.com/office/officeart/2008/layout/VerticalAccentList"/>
    <dgm:cxn modelId="{44C65677-E489-4769-93F8-5E8BCF309E6A}" type="presParOf" srcId="{6ABD4198-8F00-4E34-A8A9-EF616D01711A}" destId="{500F5B29-B784-4D36-80D3-F54221387908}" srcOrd="4" destOrd="0" presId="urn:microsoft.com/office/officeart/2008/layout/VerticalAccentList"/>
    <dgm:cxn modelId="{40CACD35-01FB-491C-87BE-C55FFA402590}" type="presParOf" srcId="{6ABD4198-8F00-4E34-A8A9-EF616D01711A}" destId="{54F208B6-0B65-4FEE-8ED0-5E6A43379851}" srcOrd="5" destOrd="0" presId="urn:microsoft.com/office/officeart/2008/layout/VerticalAccentList"/>
    <dgm:cxn modelId="{CB6DBCA9-64A9-4985-AE60-FA7F924962F2}" type="presParOf" srcId="{6ABD4198-8F00-4E34-A8A9-EF616D01711A}" destId="{7D0158A1-D2EA-4D90-A216-0481133BA9FA}" srcOrd="6" destOrd="0" presId="urn:microsoft.com/office/officeart/2008/layout/VerticalAccentList"/>
    <dgm:cxn modelId="{6CD33A4B-A492-4D79-8852-1819E1CFAAD4}" type="presParOf" srcId="{6ABD4198-8F00-4E34-A8A9-EF616D01711A}" destId="{5A799A1E-0A0A-479F-96AC-80C176F226EB}" srcOrd="7" destOrd="0" presId="urn:microsoft.com/office/officeart/2008/layout/VerticalAccentList"/>
    <dgm:cxn modelId="{60E93491-9008-4B85-A4AA-1B49E871DB7C}" type="presParOf" srcId="{2DD2E03F-507A-48CB-A0A5-21CA4A8E2ED3}" destId="{7A2D8054-09DB-4F6B-921A-A7FB2599968B}" srcOrd="5" destOrd="0" presId="urn:microsoft.com/office/officeart/2008/layout/VerticalAccentList"/>
    <dgm:cxn modelId="{6303D6A6-B037-4B31-9F4B-BDE3021BF685}" type="presParOf" srcId="{2DD2E03F-507A-48CB-A0A5-21CA4A8E2ED3}" destId="{ED750CA2-A831-4F22-8AC4-EF9DA267E659}" srcOrd="6" destOrd="0" presId="urn:microsoft.com/office/officeart/2008/layout/VerticalAccentList"/>
    <dgm:cxn modelId="{4B42ACEA-6B39-4A9B-B56D-044E3ABB7847}" type="presParOf" srcId="{ED750CA2-A831-4F22-8AC4-EF9DA267E659}" destId="{858EDF8B-2AC0-41A6-9E43-54315AA6D1F9}" srcOrd="0" destOrd="0" presId="urn:microsoft.com/office/officeart/2008/layout/VerticalAccentList"/>
    <dgm:cxn modelId="{A3201334-1BC4-49F4-A6D7-60045A2B1767}" type="presParOf" srcId="{2DD2E03F-507A-48CB-A0A5-21CA4A8E2ED3}" destId="{9642CB0E-F118-4F32-BB3C-C1063C9281C6}" srcOrd="7" destOrd="0" presId="urn:microsoft.com/office/officeart/2008/layout/VerticalAccentList"/>
    <dgm:cxn modelId="{B40C760E-06B6-45A6-B658-FCD1006EDE97}" type="presParOf" srcId="{9642CB0E-F118-4F32-BB3C-C1063C9281C6}" destId="{CD12AB8A-598A-4F94-9826-28A80C4787B4}" srcOrd="0" destOrd="0" presId="urn:microsoft.com/office/officeart/2008/layout/VerticalAccentList"/>
    <dgm:cxn modelId="{709FB144-911F-4EBE-BD7D-3486467A3F68}" type="presParOf" srcId="{9642CB0E-F118-4F32-BB3C-C1063C9281C6}" destId="{29DF844B-941E-448E-8A16-3B3421133C8B}" srcOrd="1" destOrd="0" presId="urn:microsoft.com/office/officeart/2008/layout/VerticalAccentList"/>
    <dgm:cxn modelId="{F0482B21-4347-44E7-A418-7986BB1E5216}" type="presParOf" srcId="{9642CB0E-F118-4F32-BB3C-C1063C9281C6}" destId="{903A919C-236A-4838-AF39-3F8CFC2490DD}" srcOrd="2" destOrd="0" presId="urn:microsoft.com/office/officeart/2008/layout/VerticalAccentList"/>
    <dgm:cxn modelId="{03B7DD94-BB90-4C9E-ACE0-F32F9BDDA1D5}" type="presParOf" srcId="{9642CB0E-F118-4F32-BB3C-C1063C9281C6}" destId="{7AD68171-BBC5-402A-8C7A-AAE27D4A752D}" srcOrd="3" destOrd="0" presId="urn:microsoft.com/office/officeart/2008/layout/VerticalAccentList"/>
    <dgm:cxn modelId="{F82493D2-62F8-43ED-BC37-270FBED746AC}" type="presParOf" srcId="{9642CB0E-F118-4F32-BB3C-C1063C9281C6}" destId="{C4AAC94F-E980-4B77-9234-89E25B77CEDC}" srcOrd="4" destOrd="0" presId="urn:microsoft.com/office/officeart/2008/layout/VerticalAccentList"/>
    <dgm:cxn modelId="{0473671C-DC3C-403B-A636-A7203ADB370B}" type="presParOf" srcId="{9642CB0E-F118-4F32-BB3C-C1063C9281C6}" destId="{19AA139B-7A83-4DC3-983E-2F068631978B}" srcOrd="5" destOrd="0" presId="urn:microsoft.com/office/officeart/2008/layout/VerticalAccentList"/>
    <dgm:cxn modelId="{33F2D76D-7DD6-43A0-8D83-402EF32F8CBD}" type="presParOf" srcId="{9642CB0E-F118-4F32-BB3C-C1063C9281C6}" destId="{10C7BC8A-1F8C-4B9D-BE81-6A471016A1EF}" srcOrd="6" destOrd="0" presId="urn:microsoft.com/office/officeart/2008/layout/VerticalAccentList"/>
    <dgm:cxn modelId="{5AA89FF5-3F79-4521-B007-EC498846259E}" type="presParOf" srcId="{9642CB0E-F118-4F32-BB3C-C1063C9281C6}" destId="{285D369E-34C8-4795-888E-5BA03EE1FBAD}" srcOrd="7" destOrd="0" presId="urn:microsoft.com/office/officeart/2008/layout/VerticalAccentList"/>
    <dgm:cxn modelId="{2131BB19-BFF0-40AC-B5E0-65DCFBFD509F}" type="presParOf" srcId="{2DD2E03F-507A-48CB-A0A5-21CA4A8E2ED3}" destId="{881F0F11-B712-4B2F-B253-5455CBAB6688}" srcOrd="8" destOrd="0" presId="urn:microsoft.com/office/officeart/2008/layout/VerticalAccentList"/>
    <dgm:cxn modelId="{890B6D08-E96C-482B-A09C-5A518F36BFC6}" type="presParOf" srcId="{2DD2E03F-507A-48CB-A0A5-21CA4A8E2ED3}" destId="{A4F66E42-3061-4C6A-AF96-8BE4D9E5D941}" srcOrd="9" destOrd="0" presId="urn:microsoft.com/office/officeart/2008/layout/VerticalAccentList"/>
    <dgm:cxn modelId="{8782FD1D-A06A-4F66-8805-0500D7B60415}" type="presParOf" srcId="{A4F66E42-3061-4C6A-AF96-8BE4D9E5D941}" destId="{B7D5E88E-6C44-4381-89E3-D5B6F62282AE}" srcOrd="0" destOrd="0" presId="urn:microsoft.com/office/officeart/2008/layout/VerticalAccentList"/>
    <dgm:cxn modelId="{2C58A8FC-EA60-460B-9D9D-FA3266D57164}" type="presParOf" srcId="{2DD2E03F-507A-48CB-A0A5-21CA4A8E2ED3}" destId="{D0327A73-95CA-40F1-A082-21F72E16018E}" srcOrd="10" destOrd="0" presId="urn:microsoft.com/office/officeart/2008/layout/VerticalAccentList"/>
    <dgm:cxn modelId="{D5BA4392-B6A5-4818-A1B2-7E2E614D2554}" type="presParOf" srcId="{D0327A73-95CA-40F1-A082-21F72E16018E}" destId="{4E82B6D8-B85C-4830-9062-818933ECEF6B}" srcOrd="0" destOrd="0" presId="urn:microsoft.com/office/officeart/2008/layout/VerticalAccentList"/>
    <dgm:cxn modelId="{1137B892-ACFC-4435-A6AD-E988F0318F9B}" type="presParOf" srcId="{D0327A73-95CA-40F1-A082-21F72E16018E}" destId="{9C3CED50-CF34-46BB-9071-14C554FDE7BA}" srcOrd="1" destOrd="0" presId="urn:microsoft.com/office/officeart/2008/layout/VerticalAccentList"/>
    <dgm:cxn modelId="{969FECFC-6D19-4E3E-94C7-491AC37D31AA}" type="presParOf" srcId="{D0327A73-95CA-40F1-A082-21F72E16018E}" destId="{131B876E-497B-40D4-A03F-B2B7AF1D67BC}" srcOrd="2" destOrd="0" presId="urn:microsoft.com/office/officeart/2008/layout/VerticalAccentList"/>
    <dgm:cxn modelId="{C6105A11-DFA5-4D73-902E-D84A5A4AE37E}" type="presParOf" srcId="{D0327A73-95CA-40F1-A082-21F72E16018E}" destId="{E54A717B-9E3E-49E2-8373-662621F9792B}" srcOrd="3" destOrd="0" presId="urn:microsoft.com/office/officeart/2008/layout/VerticalAccentList"/>
    <dgm:cxn modelId="{A3DC1B06-7B62-47F5-8541-28C5B09199DD}" type="presParOf" srcId="{D0327A73-95CA-40F1-A082-21F72E16018E}" destId="{7AAE1050-8E6F-4117-82E9-97361824C480}" srcOrd="4" destOrd="0" presId="urn:microsoft.com/office/officeart/2008/layout/VerticalAccentList"/>
    <dgm:cxn modelId="{7FF90ED7-BEA5-4300-9740-F61D9533C5B5}" type="presParOf" srcId="{D0327A73-95CA-40F1-A082-21F72E16018E}" destId="{B409801E-33AA-4442-8EEB-05913C84AC63}" srcOrd="5" destOrd="0" presId="urn:microsoft.com/office/officeart/2008/layout/VerticalAccentList"/>
    <dgm:cxn modelId="{94F96473-F6EA-41C9-BA6D-1B87D7788B0D}" type="presParOf" srcId="{D0327A73-95CA-40F1-A082-21F72E16018E}" destId="{5455A47C-F389-4E4F-8F3B-E52268322C93}" srcOrd="6" destOrd="0" presId="urn:microsoft.com/office/officeart/2008/layout/VerticalAccentList"/>
    <dgm:cxn modelId="{BE7FE6F5-8BB6-44FF-AF8F-57BFC61C2A7F}" type="presParOf" srcId="{D0327A73-95CA-40F1-A082-21F72E16018E}" destId="{30A39ADC-C070-4034-9FF4-AF64F6172456}" srcOrd="7" destOrd="0" presId="urn:microsoft.com/office/officeart/2008/layout/VerticalAccent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1658907-76D9-4EBE-93BD-E6290F8F10AC}">
      <dsp:nvSpPr>
        <dsp:cNvPr id="0" name=""/>
        <dsp:cNvSpPr/>
      </dsp:nvSpPr>
      <dsp:spPr>
        <a:xfrm>
          <a:off x="1518911" y="2933"/>
          <a:ext cx="2917897" cy="2652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b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100" b="1" kern="1200" dirty="0" smtClean="0">
              <a:solidFill>
                <a:srgbClr val="C00000"/>
              </a:solidFill>
            </a:rPr>
            <a:t>分組活動</a:t>
          </a:r>
          <a:endParaRPr lang="zh-TW" altLang="en-US" sz="1100" b="1" kern="1200" dirty="0">
            <a:solidFill>
              <a:srgbClr val="C00000"/>
            </a:solidFill>
          </a:endParaRPr>
        </a:p>
      </dsp:txBody>
      <dsp:txXfrm>
        <a:off x="1518911" y="2933"/>
        <a:ext cx="2917897" cy="265263"/>
      </dsp:txXfrm>
    </dsp:sp>
    <dsp:sp modelId="{40AEC3F6-595F-419C-9175-C203AD19A463}">
      <dsp:nvSpPr>
        <dsp:cNvPr id="0" name=""/>
        <dsp:cNvSpPr/>
      </dsp:nvSpPr>
      <dsp:spPr>
        <a:xfrm>
          <a:off x="1518911" y="268196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5CDAA29-24F7-48AD-8925-4E6EEBC0CF25}">
      <dsp:nvSpPr>
        <dsp:cNvPr id="0" name=""/>
        <dsp:cNvSpPr/>
      </dsp:nvSpPr>
      <dsp:spPr>
        <a:xfrm>
          <a:off x="1929038" y="268196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B790199-A7EC-45B3-96AA-0295ABD3A008}">
      <dsp:nvSpPr>
        <dsp:cNvPr id="0" name=""/>
        <dsp:cNvSpPr/>
      </dsp:nvSpPr>
      <dsp:spPr>
        <a:xfrm>
          <a:off x="2339489" y="268196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189AEF3-F2E2-425A-8EAE-9AA2BAC0095E}">
      <dsp:nvSpPr>
        <dsp:cNvPr id="0" name=""/>
        <dsp:cNvSpPr/>
      </dsp:nvSpPr>
      <dsp:spPr>
        <a:xfrm>
          <a:off x="2749615" y="268196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407F32-7781-4F25-88DE-A4A99B6799A4}">
      <dsp:nvSpPr>
        <dsp:cNvPr id="0" name=""/>
        <dsp:cNvSpPr/>
      </dsp:nvSpPr>
      <dsp:spPr>
        <a:xfrm>
          <a:off x="3160066" y="268196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81974308-FD9E-4246-B815-718F4E01662F}">
      <dsp:nvSpPr>
        <dsp:cNvPr id="0" name=""/>
        <dsp:cNvSpPr/>
      </dsp:nvSpPr>
      <dsp:spPr>
        <a:xfrm>
          <a:off x="3570193" y="268196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D75250EC-49AC-456B-9260-92657F8AB965}">
      <dsp:nvSpPr>
        <dsp:cNvPr id="0" name=""/>
        <dsp:cNvSpPr/>
      </dsp:nvSpPr>
      <dsp:spPr>
        <a:xfrm>
          <a:off x="3980644" y="268196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594F1D6-8911-41DA-9C15-FB2E5C573BEC}">
      <dsp:nvSpPr>
        <dsp:cNvPr id="0" name=""/>
        <dsp:cNvSpPr/>
      </dsp:nvSpPr>
      <dsp:spPr>
        <a:xfrm>
          <a:off x="1518911" y="322231"/>
          <a:ext cx="2955829" cy="43228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小組口說練習</a:t>
          </a:r>
          <a:r>
            <a:rPr lang="en-US" altLang="zh-TW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/</a:t>
          </a:r>
          <a:r>
            <a:rPr lang="zh-TW" altLang="en-US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表演</a:t>
          </a:r>
          <a:endParaRPr lang="zh-TW" altLang="en-US" sz="1800" kern="1200" dirty="0">
            <a:solidFill>
              <a:srgbClr val="7030A0"/>
            </a:solidFill>
            <a:latin typeface="王漢宗特圓體繁" panose="02020300000000000000" pitchFamily="18" charset="-120"/>
            <a:ea typeface="王漢宗特圓體繁" panose="02020300000000000000" pitchFamily="18" charset="-120"/>
          </a:endParaRPr>
        </a:p>
      </dsp:txBody>
      <dsp:txXfrm>
        <a:off x="1518911" y="322231"/>
        <a:ext cx="2955829" cy="432281"/>
      </dsp:txXfrm>
    </dsp:sp>
    <dsp:sp modelId="{E417F80F-F2C5-46FC-B70E-18A45A575119}">
      <dsp:nvSpPr>
        <dsp:cNvPr id="0" name=""/>
        <dsp:cNvSpPr/>
      </dsp:nvSpPr>
      <dsp:spPr>
        <a:xfrm>
          <a:off x="1518911" y="843507"/>
          <a:ext cx="2917897" cy="2652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b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100" b="1" kern="1200" dirty="0" smtClean="0">
              <a:solidFill>
                <a:srgbClr val="C00000"/>
              </a:solidFill>
            </a:rPr>
            <a:t>歌曲</a:t>
          </a:r>
          <a:r>
            <a:rPr lang="en-US" altLang="zh-TW" sz="1100" b="1" kern="1200" dirty="0" smtClean="0">
              <a:solidFill>
                <a:srgbClr val="C00000"/>
              </a:solidFill>
            </a:rPr>
            <a:t>/</a:t>
          </a:r>
          <a:r>
            <a:rPr lang="zh-TW" altLang="en-US" sz="1100" b="1" kern="1200" dirty="0" smtClean="0">
              <a:solidFill>
                <a:srgbClr val="C00000"/>
              </a:solidFill>
            </a:rPr>
            <a:t>繪本教學</a:t>
          </a:r>
          <a:endParaRPr lang="zh-TW" altLang="en-US" sz="1100" b="1" kern="1200" dirty="0">
            <a:solidFill>
              <a:srgbClr val="C00000"/>
            </a:solidFill>
          </a:endParaRPr>
        </a:p>
      </dsp:txBody>
      <dsp:txXfrm>
        <a:off x="1518911" y="843507"/>
        <a:ext cx="2917897" cy="265263"/>
      </dsp:txXfrm>
    </dsp:sp>
    <dsp:sp modelId="{4EBBFA7D-13E1-4BFA-A2D6-3FD1E0E345BA}">
      <dsp:nvSpPr>
        <dsp:cNvPr id="0" name=""/>
        <dsp:cNvSpPr/>
      </dsp:nvSpPr>
      <dsp:spPr>
        <a:xfrm>
          <a:off x="1518911" y="1108770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CCFD12F-F9A0-4043-BE74-3A8B2B51816C}">
      <dsp:nvSpPr>
        <dsp:cNvPr id="0" name=""/>
        <dsp:cNvSpPr/>
      </dsp:nvSpPr>
      <dsp:spPr>
        <a:xfrm>
          <a:off x="1929038" y="1108770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69B2FF6-7806-4E51-9AAB-05A64376E91D}">
      <dsp:nvSpPr>
        <dsp:cNvPr id="0" name=""/>
        <dsp:cNvSpPr/>
      </dsp:nvSpPr>
      <dsp:spPr>
        <a:xfrm>
          <a:off x="2339489" y="1108770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B96317-F6C5-40AE-A575-BD09C3FCC5C5}">
      <dsp:nvSpPr>
        <dsp:cNvPr id="0" name=""/>
        <dsp:cNvSpPr/>
      </dsp:nvSpPr>
      <dsp:spPr>
        <a:xfrm>
          <a:off x="2749615" y="1108770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00F5B29-B784-4D36-80D3-F54221387908}">
      <dsp:nvSpPr>
        <dsp:cNvPr id="0" name=""/>
        <dsp:cNvSpPr/>
      </dsp:nvSpPr>
      <dsp:spPr>
        <a:xfrm>
          <a:off x="3160066" y="1108770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F208B6-0B65-4FEE-8ED0-5E6A43379851}">
      <dsp:nvSpPr>
        <dsp:cNvPr id="0" name=""/>
        <dsp:cNvSpPr/>
      </dsp:nvSpPr>
      <dsp:spPr>
        <a:xfrm>
          <a:off x="3570193" y="1108770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D0158A1-D2EA-4D90-A216-0481133BA9FA}">
      <dsp:nvSpPr>
        <dsp:cNvPr id="0" name=""/>
        <dsp:cNvSpPr/>
      </dsp:nvSpPr>
      <dsp:spPr>
        <a:xfrm>
          <a:off x="3980644" y="1108770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A799A1E-0A0A-479F-96AC-80C176F226EB}">
      <dsp:nvSpPr>
        <dsp:cNvPr id="0" name=""/>
        <dsp:cNvSpPr/>
      </dsp:nvSpPr>
      <dsp:spPr>
        <a:xfrm>
          <a:off x="1518911" y="1162805"/>
          <a:ext cx="2955829" cy="43228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表演</a:t>
          </a:r>
          <a:r>
            <a:rPr lang="en-US" altLang="zh-TW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/</a:t>
          </a:r>
          <a:r>
            <a:rPr lang="zh-TW" altLang="en-US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學習單</a:t>
          </a:r>
        </a:p>
      </dsp:txBody>
      <dsp:txXfrm>
        <a:off x="1518911" y="1162805"/>
        <a:ext cx="2955829" cy="432281"/>
      </dsp:txXfrm>
    </dsp:sp>
    <dsp:sp modelId="{858EDF8B-2AC0-41A6-9E43-54315AA6D1F9}">
      <dsp:nvSpPr>
        <dsp:cNvPr id="0" name=""/>
        <dsp:cNvSpPr/>
      </dsp:nvSpPr>
      <dsp:spPr>
        <a:xfrm>
          <a:off x="1518911" y="1684081"/>
          <a:ext cx="2917897" cy="2652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b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100" b="1" kern="1200" dirty="0" smtClean="0">
              <a:solidFill>
                <a:srgbClr val="C00000"/>
              </a:solidFill>
            </a:rPr>
            <a:t>節慶教學</a:t>
          </a:r>
          <a:endParaRPr lang="zh-TW" altLang="en-US" sz="1100" b="1" kern="1200" dirty="0">
            <a:solidFill>
              <a:srgbClr val="C00000"/>
            </a:solidFill>
          </a:endParaRPr>
        </a:p>
      </dsp:txBody>
      <dsp:txXfrm>
        <a:off x="1518911" y="1684081"/>
        <a:ext cx="2917897" cy="265263"/>
      </dsp:txXfrm>
    </dsp:sp>
    <dsp:sp modelId="{CD12AB8A-598A-4F94-9826-28A80C4787B4}">
      <dsp:nvSpPr>
        <dsp:cNvPr id="0" name=""/>
        <dsp:cNvSpPr/>
      </dsp:nvSpPr>
      <dsp:spPr>
        <a:xfrm>
          <a:off x="1518911" y="1949345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9DF844B-941E-448E-8A16-3B3421133C8B}">
      <dsp:nvSpPr>
        <dsp:cNvPr id="0" name=""/>
        <dsp:cNvSpPr/>
      </dsp:nvSpPr>
      <dsp:spPr>
        <a:xfrm>
          <a:off x="1929038" y="1949345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03A919C-236A-4838-AF39-3F8CFC2490DD}">
      <dsp:nvSpPr>
        <dsp:cNvPr id="0" name=""/>
        <dsp:cNvSpPr/>
      </dsp:nvSpPr>
      <dsp:spPr>
        <a:xfrm>
          <a:off x="2339489" y="1949345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D68171-BBC5-402A-8C7A-AAE27D4A752D}">
      <dsp:nvSpPr>
        <dsp:cNvPr id="0" name=""/>
        <dsp:cNvSpPr/>
      </dsp:nvSpPr>
      <dsp:spPr>
        <a:xfrm>
          <a:off x="2749615" y="1949345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4AAC94F-E980-4B77-9234-89E25B77CEDC}">
      <dsp:nvSpPr>
        <dsp:cNvPr id="0" name=""/>
        <dsp:cNvSpPr/>
      </dsp:nvSpPr>
      <dsp:spPr>
        <a:xfrm>
          <a:off x="3160066" y="1949345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9AA139B-7A83-4DC3-983E-2F068631978B}">
      <dsp:nvSpPr>
        <dsp:cNvPr id="0" name=""/>
        <dsp:cNvSpPr/>
      </dsp:nvSpPr>
      <dsp:spPr>
        <a:xfrm>
          <a:off x="3570193" y="1949345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0C7BC8A-1F8C-4B9D-BE81-6A471016A1EF}">
      <dsp:nvSpPr>
        <dsp:cNvPr id="0" name=""/>
        <dsp:cNvSpPr/>
      </dsp:nvSpPr>
      <dsp:spPr>
        <a:xfrm>
          <a:off x="3980644" y="1949345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85D369E-34C8-4795-888E-5BA03EE1FBAD}">
      <dsp:nvSpPr>
        <dsp:cNvPr id="0" name=""/>
        <dsp:cNvSpPr/>
      </dsp:nvSpPr>
      <dsp:spPr>
        <a:xfrm>
          <a:off x="1518911" y="2003380"/>
          <a:ext cx="2955829" cy="43228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altLang="zh-TW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Halloween /Christmas</a:t>
          </a:r>
        </a:p>
      </dsp:txBody>
      <dsp:txXfrm>
        <a:off x="1518911" y="2003380"/>
        <a:ext cx="2955829" cy="432281"/>
      </dsp:txXfrm>
    </dsp:sp>
    <dsp:sp modelId="{B7D5E88E-6C44-4381-89E3-D5B6F62282AE}">
      <dsp:nvSpPr>
        <dsp:cNvPr id="0" name=""/>
        <dsp:cNvSpPr/>
      </dsp:nvSpPr>
      <dsp:spPr>
        <a:xfrm>
          <a:off x="1518911" y="2524656"/>
          <a:ext cx="2917897" cy="265263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b" anchorCtr="0">
          <a:noAutofit/>
        </a:bodyPr>
        <a:lstStyle/>
        <a:p>
          <a:pPr lvl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100" b="1" kern="1200" dirty="0" smtClean="0">
              <a:solidFill>
                <a:srgbClr val="C00000"/>
              </a:solidFill>
            </a:rPr>
            <a:t>書寫練習</a:t>
          </a:r>
          <a:endParaRPr lang="zh-TW" altLang="en-US" sz="1100" b="1" kern="1200" dirty="0">
            <a:solidFill>
              <a:srgbClr val="C00000"/>
            </a:solidFill>
          </a:endParaRPr>
        </a:p>
      </dsp:txBody>
      <dsp:txXfrm>
        <a:off x="1518911" y="2524656"/>
        <a:ext cx="2917897" cy="265263"/>
      </dsp:txXfrm>
    </dsp:sp>
    <dsp:sp modelId="{4E82B6D8-B85C-4830-9062-818933ECEF6B}">
      <dsp:nvSpPr>
        <dsp:cNvPr id="0" name=""/>
        <dsp:cNvSpPr/>
      </dsp:nvSpPr>
      <dsp:spPr>
        <a:xfrm>
          <a:off x="1518911" y="2789919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C3CED50-CF34-46BB-9071-14C554FDE7BA}">
      <dsp:nvSpPr>
        <dsp:cNvPr id="0" name=""/>
        <dsp:cNvSpPr/>
      </dsp:nvSpPr>
      <dsp:spPr>
        <a:xfrm>
          <a:off x="1929038" y="2789919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1B876E-497B-40D4-A03F-B2B7AF1D67BC}">
      <dsp:nvSpPr>
        <dsp:cNvPr id="0" name=""/>
        <dsp:cNvSpPr/>
      </dsp:nvSpPr>
      <dsp:spPr>
        <a:xfrm>
          <a:off x="2339489" y="2789919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54A717B-9E3E-49E2-8373-662621F9792B}">
      <dsp:nvSpPr>
        <dsp:cNvPr id="0" name=""/>
        <dsp:cNvSpPr/>
      </dsp:nvSpPr>
      <dsp:spPr>
        <a:xfrm>
          <a:off x="2749615" y="2789919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AAE1050-8E6F-4117-82E9-97361824C480}">
      <dsp:nvSpPr>
        <dsp:cNvPr id="0" name=""/>
        <dsp:cNvSpPr/>
      </dsp:nvSpPr>
      <dsp:spPr>
        <a:xfrm>
          <a:off x="3160066" y="2789919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B409801E-33AA-4442-8EEB-05913C84AC63}">
      <dsp:nvSpPr>
        <dsp:cNvPr id="0" name=""/>
        <dsp:cNvSpPr/>
      </dsp:nvSpPr>
      <dsp:spPr>
        <a:xfrm>
          <a:off x="3570193" y="2789919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455A47C-F389-4E4F-8F3B-E52268322C93}">
      <dsp:nvSpPr>
        <dsp:cNvPr id="0" name=""/>
        <dsp:cNvSpPr/>
      </dsp:nvSpPr>
      <dsp:spPr>
        <a:xfrm>
          <a:off x="3980644" y="2789919"/>
          <a:ext cx="682787" cy="540351"/>
        </a:xfrm>
        <a:prstGeom prst="chevron">
          <a:avLst>
            <a:gd name="adj" fmla="val 7061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30A39ADC-C070-4034-9FF4-AF64F6172456}">
      <dsp:nvSpPr>
        <dsp:cNvPr id="0" name=""/>
        <dsp:cNvSpPr/>
      </dsp:nvSpPr>
      <dsp:spPr>
        <a:xfrm>
          <a:off x="1518911" y="2843954"/>
          <a:ext cx="2955829" cy="432281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5720" tIns="45720" rIns="45720" bIns="4572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zh-TW" altLang="en-US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習作</a:t>
          </a:r>
          <a:r>
            <a:rPr lang="en-US" altLang="zh-TW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/</a:t>
          </a:r>
          <a:r>
            <a:rPr lang="zh-TW" altLang="en-US" sz="1800" kern="1200" dirty="0" smtClean="0">
              <a:solidFill>
                <a:srgbClr val="7030A0"/>
              </a:solidFill>
              <a:latin typeface="王漢宗特圓體繁" panose="02020300000000000000" pitchFamily="18" charset="-120"/>
              <a:ea typeface="王漢宗特圓體繁" panose="02020300000000000000" pitchFamily="18" charset="-120"/>
            </a:rPr>
            <a:t>練習簿</a:t>
          </a:r>
          <a:endParaRPr lang="zh-TW" altLang="en-US" sz="1800" kern="1200" dirty="0">
            <a:solidFill>
              <a:srgbClr val="7030A0"/>
            </a:solidFill>
            <a:latin typeface="王漢宗特圓體繁" panose="02020300000000000000" pitchFamily="18" charset="-120"/>
            <a:ea typeface="王漢宗特圓體繁" panose="02020300000000000000" pitchFamily="18" charset="-120"/>
          </a:endParaRPr>
        </a:p>
      </dsp:txBody>
      <dsp:txXfrm>
        <a:off x="1518911" y="2843954"/>
        <a:ext cx="2955829" cy="43228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AccentList">
  <dgm:title val=""/>
  <dgm:desc val=""/>
  <dgm:catLst>
    <dgm:cat type="list" pri="16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/>
      <dgm:chPref/>
      <dgm:dir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constrLst>
      <dgm:constr type="primFontSz" for="des" forName="parenttext" refType="primFontSz" refFor="des" refForName="childtext" op="gte"/>
      <dgm:constr type="w" for="ch" forName="composite" refType="w"/>
      <dgm:constr type="h" for="ch" forName="composite" refType="h"/>
      <dgm:constr type="w" for="ch" forName="parallelogramComposite" refType="w"/>
      <dgm:constr type="h" for="ch" forName="parallelogramComposite" refType="h"/>
      <dgm:constr type="w" for="ch" forName="parenttextcomposite" refType="w" fact="0.9"/>
      <dgm:constr type="h" for="ch" forName="parenttextcomposite" refType="h" fact="0.6"/>
      <dgm:constr type="h" for="ch" forName="sibTrans" refType="h" refFor="ch" refForName="composite" op="equ" fact="0.02"/>
      <dgm:constr type="h" for="ch" forName="sibTrans" op="equ"/>
    </dgm:constrLst>
    <dgm:forEach name="nodesForEach" axis="ch" ptType="node">
      <dgm:layoutNode name="parenttextcomposite">
        <dgm:alg type="composite">
          <dgm:param type="ar" val="11"/>
        </dgm:alg>
        <dgm:shape xmlns:r="http://schemas.openxmlformats.org/officeDocument/2006/relationships" r:blip="">
          <dgm:adjLst/>
        </dgm:shape>
        <dgm:constrLst>
          <dgm:constr type="h" for="ch" forName="parenttext" refType="h"/>
          <dgm:constr type="w" for="ch" forName="parenttext" refType="w"/>
        </dgm:constrLst>
        <dgm:layoutNode name="parenttext" styleLbl="revTx">
          <dgm:varLst>
            <dgm:chMax/>
            <dgm:chPref val="2"/>
            <dgm:bulletEnabled val="1"/>
          </dgm:varLst>
          <dgm:choose name="Name4">
            <dgm:if name="Name5" func="var" arg="dir" op="equ" val="norm">
              <dgm:alg type="tx">
                <dgm:param type="parTxLTRAlign" val="l"/>
                <dgm:param type="txAnchorVert" val="b"/>
              </dgm:alg>
            </dgm:if>
            <dgm:else name="Name6">
              <dgm:alg type="tx">
                <dgm:param type="parTxLTRAlign" val="r"/>
                <dgm:param type="txAnchorVert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choose name="Name7">
        <dgm:if name="Name8" axis="ch" ptType="node" func="cnt" op="gte" val="1">
          <dgm:layoutNode name="composite">
            <dgm:alg type="composite">
              <dgm:param type="ar" val="6"/>
            </dgm:alg>
            <dgm:shape xmlns:r="http://schemas.openxmlformats.org/officeDocument/2006/relationships" r:blip="">
              <dgm:adjLst/>
            </dgm:shape>
            <dgm:choose name="Name9">
              <dgm:if name="Name10" func="var" arg="dir" op="equ" val="norm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301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if>
              <dgm:else name="Name11">
                <dgm:constrLst>
                  <dgm:constr type="l" for="ch" forName="chevron1" refType="w" fact="0.0301"/>
                  <dgm:constr type="t" for="ch" forName="chevron1" refType="h" fact="0"/>
                  <dgm:constr type="w" for="ch" forName="chevron1" refType="w" fact="0.2106"/>
                  <dgm:constr type="h" for="ch" forName="chevron1" refType="h"/>
                  <dgm:constr type="l" for="ch" forName="chevron2" refType="w" fact="0.1566"/>
                  <dgm:constr type="t" for="ch" forName="chevron2" refType="h" fact="0"/>
                  <dgm:constr type="w" for="ch" forName="chevron2" refType="w" fact="0.2106"/>
                  <dgm:constr type="h" for="ch" forName="chevron2" refType="h"/>
                  <dgm:constr type="l" for="ch" forName="chevron3" refType="w" fact="0.2832"/>
                  <dgm:constr type="t" for="ch" forName="chevron3" refType="h" fact="0"/>
                  <dgm:constr type="w" for="ch" forName="chevron3" refType="w" fact="0.2106"/>
                  <dgm:constr type="h" for="ch" forName="chevron3" refType="h"/>
                  <dgm:constr type="l" for="ch" forName="chevron4" refType="w" fact="0.4097"/>
                  <dgm:constr type="t" for="ch" forName="chevron4" refType="h" fact="0"/>
                  <dgm:constr type="w" for="ch" forName="chevron4" refType="w" fact="0.2106"/>
                  <dgm:constr type="h" for="ch" forName="chevron4" refType="h"/>
                  <dgm:constr type="l" for="ch" forName="chevron5" refType="w" fact="0.5363"/>
                  <dgm:constr type="t" for="ch" forName="chevron5" refType="h" fact="0"/>
                  <dgm:constr type="w" for="ch" forName="chevron5" refType="w" fact="0.2106"/>
                  <dgm:constr type="h" for="ch" forName="chevron5" refType="h"/>
                  <dgm:constr type="l" for="ch" forName="chevron6" refType="w" fact="0.6628"/>
                  <dgm:constr type="t" for="ch" forName="chevron6" refType="h" fact="0"/>
                  <dgm:constr type="w" for="ch" forName="chevron6" refType="w" fact="0.2106"/>
                  <dgm:constr type="h" for="ch" forName="chevron6" refType="h"/>
                  <dgm:constr type="l" for="ch" forName="chevron7" refType="w" fact="0.7894"/>
                  <dgm:constr type="t" for="ch" forName="chevron7" refType="h" fact="0"/>
                  <dgm:constr type="w" for="ch" forName="chevron7" refType="w" fact="0.2106"/>
                  <dgm:constr type="h" for="ch" forName="chevron7" refType="h"/>
                  <dgm:constr type="l" for="ch" forName="childtext" refType="w" fact="0.0883"/>
                  <dgm:constr type="t" for="ch" forName="childtext" refType="h" fact="0.1"/>
                  <dgm:constr type="w" for="ch" forName="childtext" refType="w" fact="0.9117"/>
                  <dgm:constr type="h" for="ch" forName="childtext" refType="h" fact="0.8"/>
                </dgm:constrLst>
              </dgm:else>
            </dgm:choose>
            <dgm:ruleLst/>
            <dgm:layoutNode name="chevron1" styleLbl="alignNode1">
              <dgm:alg type="sp"/>
              <dgm:choose name="Name12">
                <dgm:if name="Name13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4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2" styleLbl="alignNode1">
              <dgm:alg type="sp"/>
              <dgm:choose name="Name15">
                <dgm:if name="Name16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17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3" styleLbl="alignNode1">
              <dgm:alg type="sp"/>
              <dgm:choose name="Name18">
                <dgm:if name="Name19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0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4" styleLbl="alignNode1">
              <dgm:alg type="sp"/>
              <dgm:choose name="Name21">
                <dgm:if name="Name22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3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5" styleLbl="alignNode1">
              <dgm:alg type="sp"/>
              <dgm:choose name="Name24">
                <dgm:if name="Name25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6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6" styleLbl="alignNode1">
              <dgm:alg type="sp"/>
              <dgm:choose name="Name27">
                <dgm:if name="Name28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29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evron7" styleLbl="alignNode1">
              <dgm:alg type="sp"/>
              <dgm:choose name="Name30">
                <dgm:if name="Name31" func="var" arg="dir" op="equ" val="norm">
                  <dgm:shape xmlns:r="http://schemas.openxmlformats.org/officeDocument/2006/relationships" type="chevron" r:blip="">
                    <dgm:adjLst>
                      <dgm:adj idx="1" val="0.7061"/>
                    </dgm:adjLst>
                  </dgm:shape>
                </dgm:if>
                <dgm:else name="Name32">
                  <dgm:shape xmlns:r="http://schemas.openxmlformats.org/officeDocument/2006/relationships" rot="180" type="chevron" r:blip="">
                    <dgm:adjLst>
                      <dgm:adj idx="1" val="0.7061"/>
                    </dgm:adjLst>
                  </dgm:shape>
                </dgm:else>
              </dgm:choose>
              <dgm:presOf/>
            </dgm:layoutNode>
            <dgm:layoutNode name="childtext" styleLbl="solidFgAcc1">
              <dgm:varLst>
                <dgm:chMax/>
                <dgm:chPref val="0"/>
                <dgm:bulletEnabled val="1"/>
              </dgm:varLst>
              <dgm:choose name="Name33">
                <dgm:if name="Name34" func="var" arg="dir" op="equ" val="norm">
                  <dgm:alg type="tx">
                    <dgm:param type="parTxLTRAlign" val="l"/>
                    <dgm:param type="txAnchorVertCh" val="t"/>
                  </dgm:alg>
                </dgm:if>
                <dgm:else name="Name35">
                  <dgm:alg type="tx">
                    <dgm:param type="parTxLTRAlign" val="r"/>
                    <dgm:param type="shpTxLTRAlignCh" val="r"/>
                    <dgm:param type="txAnchorVertCh" val="t"/>
                  </dgm:alg>
                </dgm:else>
              </dgm:choose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lMarg" refType="primFontSz" fact="0.2"/>
                <dgm:constr type="rMarg" refType="primFontSz" fact="0.2"/>
                <dgm:constr type="tMarg" refType="primFontSz" fact="0.2"/>
                <dgm:constr type="bMarg" refType="primFontSz" fact="0.2"/>
              </dgm:constrLst>
              <dgm:ruleLst>
                <dgm:rule type="primFontSz" val="5" fact="NaN" max="NaN"/>
              </dgm:ruleLst>
            </dgm:layoutNode>
          </dgm:layoutNode>
        </dgm:if>
        <dgm:else name="Name36">
          <dgm:layoutNode name="parallelogramComposite">
            <dgm:alg type="composite">
              <dgm:param type="ar" val="50"/>
            </dgm:alg>
            <dgm:shape xmlns:r="http://schemas.openxmlformats.org/officeDocument/2006/relationships" r:blip="">
              <dgm:adjLst/>
            </dgm:shape>
            <dgm:constrLst>
              <dgm:constr type="l" for="ch" forName="parallelogram1" refType="w" fact="0"/>
              <dgm:constr type="t" for="ch" forName="parallelogram1" refType="h" fact="0"/>
              <dgm:constr type="w" for="ch" forName="parallelogram1" refType="w" fact="0.12"/>
              <dgm:constr type="h" for="ch" forName="parallelogram1" refType="h"/>
              <dgm:constr type="l" for="ch" forName="parallelogram2" refType="w" fact="0.127"/>
              <dgm:constr type="t" for="ch" forName="parallelogram2" refType="h" fact="0"/>
              <dgm:constr type="w" for="ch" forName="parallelogram2" refType="w" fact="0.12"/>
              <dgm:constr type="h" for="ch" forName="parallelogram2" refType="h"/>
              <dgm:constr type="l" for="ch" forName="parallelogram3" refType="w" fact="0.254"/>
              <dgm:constr type="t" for="ch" forName="parallelogram3" refType="h" fact="0"/>
              <dgm:constr type="w" for="ch" forName="parallelogram3" refType="w" fact="0.12"/>
              <dgm:constr type="h" for="ch" forName="parallelogram3" refType="h"/>
              <dgm:constr type="l" for="ch" forName="parallelogram4" refType="w" fact="0.381"/>
              <dgm:constr type="t" for="ch" forName="parallelogram4" refType="h" fact="0"/>
              <dgm:constr type="w" for="ch" forName="parallelogram4" refType="w" fact="0.12"/>
              <dgm:constr type="h" for="ch" forName="parallelogram4" refType="h"/>
              <dgm:constr type="l" for="ch" forName="parallelogram5" refType="w" fact="0.508"/>
              <dgm:constr type="t" for="ch" forName="parallelogram5" refType="h" fact="0"/>
              <dgm:constr type="w" for="ch" forName="parallelogram5" refType="w" fact="0.12"/>
              <dgm:constr type="h" for="ch" forName="parallelogram5" refType="h"/>
              <dgm:constr type="l" for="ch" forName="parallelogram6" refType="w" fact="0.635"/>
              <dgm:constr type="t" for="ch" forName="parallelogram6" refType="h" fact="0"/>
              <dgm:constr type="w" for="ch" forName="parallelogram6" refType="w" fact="0.12"/>
              <dgm:constr type="h" for="ch" forName="parallelogram6" refType="h"/>
              <dgm:constr type="l" for="ch" forName="parallelogram7" refType="w" fact="0.762"/>
              <dgm:constr type="t" for="ch" forName="parallelogram7" refType="h" fact="0"/>
              <dgm:constr type="w" for="ch" forName="parallelogram7" refType="w" fact="0.12"/>
              <dgm:constr type="h" for="ch" forName="parallelogram7" refType="h"/>
            </dgm:constrLst>
            <dgm:ruleLst/>
            <dgm:layoutNode name="parallelogram1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2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3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4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5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6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  <dgm:layoutNode name="parallelogram7" styleLbl="alignNode1">
              <dgm:alg type="sp"/>
              <dgm:shape xmlns:r="http://schemas.openxmlformats.org/officeDocument/2006/relationships" type="parallelogram" r:blip="">
                <dgm:adjLst>
                  <dgm:adj idx="1" val="1.4084"/>
                </dgm:adjLst>
              </dgm:shape>
              <dgm:presOf/>
            </dgm:layoutNode>
          </dgm:layoutNode>
        </dgm:else>
      </dgm:choos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FD96D07-341D-4D88-BBFE-B431BFA04196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2A0F9D-3357-4A94-85C8-3B842B870DC6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2755137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14915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9326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2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82507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3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12653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4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711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6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511922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7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89480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8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104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9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078242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B2A0F9D-3357-4A94-85C8-3B842B870DC6}" type="slidenum">
              <a:rPr lang="zh-CN" altLang="en-US" smtClean="0">
                <a:solidFill>
                  <a:prstClr val="black"/>
                </a:solidFill>
              </a:rPr>
              <a:pPr/>
              <a:t>10</a:t>
            </a:fld>
            <a:endParaRPr lang="zh-CN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31047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6469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57523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154781"/>
            <a:ext cx="2057400" cy="3290888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54781"/>
            <a:ext cx="6019800" cy="3290888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88271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12918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916379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900113"/>
            <a:ext cx="4038600" cy="2545556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289229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17836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824026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49632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  <a:p>
            <a:pPr lvl="1"/>
            <a:r>
              <a:rPr lang="zh-CN" altLang="en-US" smtClean="0"/>
              <a:t>第二级</a:t>
            </a:r>
          </a:p>
          <a:p>
            <a:pPr lvl="2"/>
            <a:r>
              <a:rPr lang="zh-CN" altLang="en-US" smtClean="0"/>
              <a:t>第三级</a:t>
            </a:r>
          </a:p>
          <a:p>
            <a:pPr lvl="3"/>
            <a:r>
              <a:rPr lang="zh-CN" altLang="en-US" smtClean="0"/>
              <a:t>第四级</a:t>
            </a:r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96600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B44CCEC7-3A54-47D1-BB25-17A0FDA63797}" type="datetimeFigureOut">
              <a:rPr lang="zh-CN" altLang="en-US" smtClean="0"/>
              <a:t>2018/9/5</a:t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/>
          <a:lstStyle/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/>
          <a:lstStyle/>
          <a:p>
            <a:fld id="{65495661-81B6-46E9-A91E-889569155CC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80307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0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2197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diagramLayout" Target="../diagrams/layout1.xml"/><Relationship Id="rId7" Type="http://schemas.openxmlformats.org/officeDocument/2006/relationships/image" Target="../media/image9.pn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图片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0" y="0"/>
            <a:ext cx="9135879" cy="51435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/>
        </p:blipFill>
        <p:spPr>
          <a:xfrm>
            <a:off x="4355977" y="0"/>
            <a:ext cx="2664296" cy="1491630"/>
          </a:xfrm>
          <a:prstGeom prst="rect">
            <a:avLst/>
          </a:prstGeom>
        </p:spPr>
      </p:pic>
      <p:sp>
        <p:nvSpPr>
          <p:cNvPr id="2" name="文字方塊 1"/>
          <p:cNvSpPr txBox="1"/>
          <p:nvPr/>
        </p:nvSpPr>
        <p:spPr>
          <a:xfrm>
            <a:off x="3419872" y="1131590"/>
            <a:ext cx="3888432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TW" altLang="en-US" sz="3600" b="1" dirty="0">
                <a:solidFill>
                  <a:schemeClr val="bg1">
                    <a:lumMod val="75000"/>
                  </a:schemeClr>
                </a:solidFill>
                <a:latin typeface="王漢宗中隸書繁" panose="02000500000000000000" pitchFamily="2" charset="-120"/>
                <a:ea typeface="王漢宗中隸書繁" panose="02000500000000000000" pitchFamily="2" charset="-120"/>
              </a:rPr>
              <a:t>五</a:t>
            </a:r>
            <a:r>
              <a:rPr lang="zh-TW" altLang="en-US" sz="3600" b="1" dirty="0" smtClean="0">
                <a:solidFill>
                  <a:schemeClr val="bg1">
                    <a:lumMod val="75000"/>
                  </a:schemeClr>
                </a:solidFill>
                <a:latin typeface="王漢宗中隸書繁" panose="02000500000000000000" pitchFamily="2" charset="-120"/>
                <a:ea typeface="王漢宗中隸書繁" panose="02000500000000000000" pitchFamily="2" charset="-120"/>
              </a:rPr>
              <a:t>年級</a:t>
            </a:r>
            <a:r>
              <a:rPr lang="zh-TW" altLang="en-US" sz="3600" b="1" dirty="0">
                <a:solidFill>
                  <a:schemeClr val="bg1">
                    <a:lumMod val="75000"/>
                  </a:schemeClr>
                </a:solidFill>
                <a:latin typeface="王漢宗中隸書繁" panose="02000500000000000000" pitchFamily="2" charset="-120"/>
                <a:ea typeface="王漢宗中隸書繁" panose="02000500000000000000" pitchFamily="2" charset="-120"/>
              </a:rPr>
              <a:t>教學</a:t>
            </a:r>
            <a:r>
              <a:rPr lang="zh-TW" altLang="en-US" sz="3600" b="1" dirty="0" smtClean="0">
                <a:solidFill>
                  <a:schemeClr val="bg1">
                    <a:lumMod val="75000"/>
                  </a:schemeClr>
                </a:solidFill>
                <a:latin typeface="王漢宗中隸書繁" panose="02000500000000000000" pitchFamily="2" charset="-120"/>
                <a:ea typeface="王漢宗中隸書繁" panose="02000500000000000000" pitchFamily="2" charset="-120"/>
              </a:rPr>
              <a:t>計劃</a:t>
            </a:r>
            <a:r>
              <a:rPr lang="en-US" altLang="zh-TW" sz="3600" i="1" dirty="0">
                <a:latin typeface="Bookman" pitchFamily="18" charset="0"/>
              </a:rPr>
              <a:t>Teaching plan for </a:t>
            </a:r>
            <a:r>
              <a:rPr lang="en-US" altLang="zh-TW" sz="3600" i="1" dirty="0" smtClean="0">
                <a:latin typeface="Bookman" pitchFamily="18" charset="0"/>
              </a:rPr>
              <a:t>5</a:t>
            </a:r>
            <a:r>
              <a:rPr lang="en-US" altLang="zh-TW" sz="3600" i="1" baseline="30000" dirty="0" smtClean="0">
                <a:latin typeface="Bookman" pitchFamily="18" charset="0"/>
              </a:rPr>
              <a:t>th</a:t>
            </a:r>
            <a:r>
              <a:rPr lang="en-US" altLang="zh-TW" sz="3600" i="1" dirty="0" smtClean="0">
                <a:latin typeface="Bookman" pitchFamily="18" charset="0"/>
              </a:rPr>
              <a:t> graders</a:t>
            </a:r>
            <a:endParaRPr lang="en-US" altLang="zh-TW" sz="3600" i="1" dirty="0">
              <a:latin typeface="Bookman" pitchFamily="18" charset="0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4211960" y="2787774"/>
            <a:ext cx="3651176" cy="64633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  <a:scene3d>
              <a:camera prst="orthographicFront"/>
              <a:lightRig rig="balanced" dir="t">
                <a:rot lat="0" lon="0" rev="2100000"/>
              </a:lightRig>
            </a:scene3d>
            <a:sp3d extrusionH="57150" prstMaterial="metal">
              <a:bevelT w="38100" h="25400"/>
              <a:contourClr>
                <a:schemeClr val="bg2"/>
              </a:contourClr>
            </a:sp3d>
          </a:bodyPr>
          <a:lstStyle/>
          <a:p>
            <a:pPr algn="ctr"/>
            <a:r>
              <a:rPr lang="en-US" altLang="zh-TW" sz="3600" b="1" dirty="0" smtClean="0">
                <a:ln w="50800"/>
                <a:solidFill>
                  <a:schemeClr val="bg1">
                    <a:shade val="50000"/>
                  </a:schemeClr>
                </a:solidFill>
              </a:rPr>
              <a:t>Teacher: Ms. Hsu</a:t>
            </a:r>
            <a:endParaRPr lang="zh-TW" altLang="en-US" sz="3600" b="1" dirty="0">
              <a:ln w="50800"/>
              <a:solidFill>
                <a:schemeClr val="bg1">
                  <a:shade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151806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/>
        </p:blipFill>
        <p:spPr>
          <a:xfrm>
            <a:off x="3707904" y="864096"/>
            <a:ext cx="2664296" cy="149163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2576" y="1531764"/>
            <a:ext cx="3840465" cy="384046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65" y="2775069"/>
            <a:ext cx="1936383" cy="193638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815056" y="2057566"/>
            <a:ext cx="40318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04</a:t>
            </a:r>
            <a:r>
              <a:rPr lang="zh-TW" altLang="en-US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聯絡方式</a:t>
            </a:r>
            <a:endParaRPr lang="zh-CN" altLang="en-US" sz="60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5812" y="3264669"/>
            <a:ext cx="2451507" cy="2451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1414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1453927" y="1570434"/>
            <a:ext cx="648072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zh-TW" altLang="en-US" sz="3200" dirty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英語教師：許</a:t>
            </a:r>
            <a:r>
              <a:rPr lang="zh-TW" altLang="en-US" sz="32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雅喬　</a:t>
            </a:r>
            <a:r>
              <a:rPr lang="en-US" altLang="zh-TW" sz="3200" dirty="0" err="1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Ms.Hsu</a:t>
            </a:r>
            <a:endParaRPr lang="en-US" altLang="zh-TW" sz="32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  <a:p>
            <a:pPr>
              <a:defRPr/>
            </a:pPr>
            <a:r>
              <a:rPr lang="zh-TW" altLang="en-US" sz="3200" dirty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聯繫電話：</a:t>
            </a:r>
            <a:r>
              <a:rPr lang="en-US" altLang="zh-TW" sz="32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2596-5407</a:t>
            </a:r>
            <a:r>
              <a:rPr lang="zh-TW" altLang="en-US" sz="32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 </a:t>
            </a:r>
            <a:r>
              <a:rPr lang="en-US" altLang="zh-TW" sz="32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#817</a:t>
            </a:r>
          </a:p>
          <a:p>
            <a:pPr>
              <a:defRPr/>
            </a:pPr>
            <a:r>
              <a:rPr lang="en-US" altLang="zh-TW" sz="3200" dirty="0" err="1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E-mail:00247@ttps.tp.edu.tw</a:t>
            </a:r>
            <a:endParaRPr lang="en-US" altLang="zh-TW" sz="32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  <a:p>
            <a:pPr>
              <a:defRPr/>
            </a:pPr>
            <a:endParaRPr lang="en-US" altLang="zh-TW" sz="32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  <a:p>
            <a:pPr>
              <a:defRPr/>
            </a:pPr>
            <a:r>
              <a:rPr lang="zh-TW" altLang="en-US" sz="3200" dirty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               </a:t>
            </a:r>
            <a:endParaRPr lang="en-US" altLang="zh-TW" sz="32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</p:txBody>
      </p:sp>
      <p:pic>
        <p:nvPicPr>
          <p:cNvPr id="4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347156">
            <a:off x="-331991" y="1340168"/>
            <a:ext cx="2469055" cy="2469055"/>
          </a:xfrm>
          <a:prstGeom prst="rect">
            <a:avLst/>
          </a:prstGeom>
        </p:spPr>
      </p:pic>
      <p:pic>
        <p:nvPicPr>
          <p:cNvPr id="5" name="图片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17245" y="2355264"/>
            <a:ext cx="3284625" cy="3284625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58360" y="2283718"/>
            <a:ext cx="2511679" cy="2511679"/>
          </a:xfrm>
          <a:prstGeom prst="rect">
            <a:avLst/>
          </a:prstGeom>
        </p:spPr>
      </p:pic>
      <p:sp>
        <p:nvSpPr>
          <p:cNvPr id="8" name="Text Placeholder 8"/>
          <p:cNvSpPr txBox="1">
            <a:spLocks/>
          </p:cNvSpPr>
          <p:nvPr/>
        </p:nvSpPr>
        <p:spPr>
          <a:xfrm>
            <a:off x="4932040" y="411510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TW" altLang="en-US" sz="2800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聯絡方式</a:t>
            </a:r>
            <a:endParaRPr lang="en-US" altLang="zh-CN" sz="28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9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7902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图片 1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79" b="15001"/>
          <a:stretch/>
        </p:blipFill>
        <p:spPr>
          <a:xfrm>
            <a:off x="0" y="0"/>
            <a:ext cx="9139939" cy="5143500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/>
        </p:blipFill>
        <p:spPr>
          <a:xfrm>
            <a:off x="4355977" y="0"/>
            <a:ext cx="2664296" cy="1491630"/>
          </a:xfrm>
          <a:prstGeom prst="rect">
            <a:avLst/>
          </a:prstGeom>
        </p:spPr>
      </p:pic>
      <p:sp>
        <p:nvSpPr>
          <p:cNvPr id="19" name="文本框 18"/>
          <p:cNvSpPr txBox="1"/>
          <p:nvPr/>
        </p:nvSpPr>
        <p:spPr>
          <a:xfrm>
            <a:off x="3131840" y="2063918"/>
            <a:ext cx="3647152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Thank you</a:t>
            </a:r>
            <a:endParaRPr lang="zh-CN" altLang="en-US" sz="60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420487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/>
          <p:cNvSpPr/>
          <p:nvPr/>
        </p:nvSpPr>
        <p:spPr>
          <a:xfrm>
            <a:off x="1845221" y="1347614"/>
            <a:ext cx="5616624" cy="468052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2167226" y="1406649"/>
            <a:ext cx="1433794" cy="369332"/>
            <a:chOff x="2167226" y="1730685"/>
            <a:chExt cx="1433794" cy="369332"/>
          </a:xfrm>
        </p:grpSpPr>
        <p:sp>
          <p:nvSpPr>
            <p:cNvPr id="4" name="TextBox 4"/>
            <p:cNvSpPr txBox="1"/>
            <p:nvPr/>
          </p:nvSpPr>
          <p:spPr>
            <a:xfrm>
              <a:off x="2595617" y="1730685"/>
              <a:ext cx="100540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1600" dirty="0" smtClean="0">
                  <a:solidFill>
                    <a:schemeClr val="accent1"/>
                  </a:solidFill>
                  <a:latin typeface="微软雅黑" pitchFamily="34" charset="-122"/>
                  <a:ea typeface="微软雅黑" pitchFamily="34" charset="-122"/>
                </a:rPr>
                <a:t>課程設計</a:t>
              </a:r>
              <a:endParaRPr lang="zh-CN" altLang="en-US" sz="160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5" name="椭圆 4"/>
            <p:cNvSpPr/>
            <p:nvPr/>
          </p:nvSpPr>
          <p:spPr>
            <a:xfrm>
              <a:off x="2195969" y="1730685"/>
              <a:ext cx="369332" cy="369332"/>
            </a:xfrm>
            <a:prstGeom prst="ellipse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6" name="TextBox 4"/>
            <p:cNvSpPr txBox="1"/>
            <p:nvPr/>
          </p:nvSpPr>
          <p:spPr>
            <a:xfrm>
              <a:off x="2167226" y="1750528"/>
              <a:ext cx="4251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 smtClean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01</a:t>
              </a:r>
              <a:endParaRPr lang="zh-CN" altLang="en-US" sz="110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7" name="圆角矩形 6"/>
          <p:cNvSpPr/>
          <p:nvPr/>
        </p:nvSpPr>
        <p:spPr>
          <a:xfrm>
            <a:off x="1845221" y="2044663"/>
            <a:ext cx="5616624" cy="468052"/>
          </a:xfrm>
          <a:prstGeom prst="round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2167226" y="2103698"/>
            <a:ext cx="1433794" cy="369332"/>
            <a:chOff x="2167226" y="1730685"/>
            <a:chExt cx="1433794" cy="369332"/>
          </a:xfrm>
        </p:grpSpPr>
        <p:sp>
          <p:nvSpPr>
            <p:cNvPr id="9" name="TextBox 4"/>
            <p:cNvSpPr txBox="1"/>
            <p:nvPr/>
          </p:nvSpPr>
          <p:spPr>
            <a:xfrm>
              <a:off x="2595617" y="1730685"/>
              <a:ext cx="100540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1600" dirty="0">
                  <a:solidFill>
                    <a:schemeClr val="accent1"/>
                  </a:solidFill>
                  <a:latin typeface="微软雅黑" pitchFamily="34" charset="-122"/>
                  <a:ea typeface="微软雅黑" pitchFamily="34" charset="-122"/>
                </a:rPr>
                <a:t>評量方式</a:t>
              </a:r>
              <a:endParaRPr lang="zh-CN" altLang="en-US" sz="110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0" name="椭圆 9"/>
            <p:cNvSpPr/>
            <p:nvPr/>
          </p:nvSpPr>
          <p:spPr>
            <a:xfrm>
              <a:off x="2195969" y="1730685"/>
              <a:ext cx="369332" cy="369332"/>
            </a:xfrm>
            <a:prstGeom prst="ellipse">
              <a:avLst/>
            </a:prstGeom>
            <a:solidFill>
              <a:schemeClr val="tx1"/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1" name="TextBox 4"/>
            <p:cNvSpPr txBox="1"/>
            <p:nvPr/>
          </p:nvSpPr>
          <p:spPr>
            <a:xfrm>
              <a:off x="2167226" y="1750528"/>
              <a:ext cx="4251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 smtClean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02</a:t>
              </a:r>
              <a:endParaRPr lang="zh-CN" altLang="en-US" sz="110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2" name="圆角矩形 11"/>
          <p:cNvSpPr/>
          <p:nvPr/>
        </p:nvSpPr>
        <p:spPr>
          <a:xfrm>
            <a:off x="1845221" y="2735806"/>
            <a:ext cx="5616624" cy="468052"/>
          </a:xfrm>
          <a:prstGeom prst="roundRect">
            <a:avLst/>
          </a:prstGeom>
          <a:noFill/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13" name="组合 12"/>
          <p:cNvGrpSpPr/>
          <p:nvPr/>
        </p:nvGrpSpPr>
        <p:grpSpPr>
          <a:xfrm>
            <a:off x="2167226" y="2794841"/>
            <a:ext cx="1638979" cy="369332"/>
            <a:chOff x="2167226" y="1730685"/>
            <a:chExt cx="1638979" cy="369332"/>
          </a:xfrm>
        </p:grpSpPr>
        <p:sp>
          <p:nvSpPr>
            <p:cNvPr id="14" name="TextBox 4"/>
            <p:cNvSpPr txBox="1"/>
            <p:nvPr/>
          </p:nvSpPr>
          <p:spPr>
            <a:xfrm>
              <a:off x="2595617" y="1730685"/>
              <a:ext cx="121058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1600" dirty="0" smtClean="0">
                  <a:solidFill>
                    <a:schemeClr val="accent1"/>
                  </a:solidFill>
                  <a:latin typeface="微软雅黑" pitchFamily="34" charset="-122"/>
                  <a:ea typeface="微软雅黑" pitchFamily="34" charset="-122"/>
                </a:rPr>
                <a:t>親師生合作</a:t>
              </a:r>
              <a:endParaRPr lang="zh-CN" altLang="en-US" sz="160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15" name="椭圆 14"/>
            <p:cNvSpPr/>
            <p:nvPr/>
          </p:nvSpPr>
          <p:spPr>
            <a:xfrm>
              <a:off x="2195969" y="1730685"/>
              <a:ext cx="369332" cy="369332"/>
            </a:xfrm>
            <a:prstGeom prst="ellipse">
              <a:avLst/>
            </a:prstGeom>
            <a:solidFill>
              <a:schemeClr val="bg2"/>
            </a:solidFill>
            <a:ln w="12700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16" name="TextBox 4"/>
            <p:cNvSpPr txBox="1"/>
            <p:nvPr/>
          </p:nvSpPr>
          <p:spPr>
            <a:xfrm>
              <a:off x="2167226" y="1750528"/>
              <a:ext cx="4251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 smtClean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03</a:t>
              </a:r>
              <a:endParaRPr lang="zh-CN" altLang="en-US" sz="110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17" name="圆角矩形 16"/>
          <p:cNvSpPr/>
          <p:nvPr/>
        </p:nvSpPr>
        <p:spPr>
          <a:xfrm>
            <a:off x="1845221" y="3417526"/>
            <a:ext cx="5616624" cy="468052"/>
          </a:xfrm>
          <a:prstGeom prst="roundRect">
            <a:avLst/>
          </a:prstGeom>
          <a:noFill/>
          <a:ln w="317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2167226" y="3476561"/>
            <a:ext cx="1433794" cy="369332"/>
            <a:chOff x="2167226" y="1730685"/>
            <a:chExt cx="1433794" cy="369332"/>
          </a:xfrm>
        </p:grpSpPr>
        <p:sp>
          <p:nvSpPr>
            <p:cNvPr id="19" name="TextBox 4"/>
            <p:cNvSpPr txBox="1"/>
            <p:nvPr/>
          </p:nvSpPr>
          <p:spPr>
            <a:xfrm>
              <a:off x="2595617" y="1730685"/>
              <a:ext cx="1005403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TW" altLang="en-US" sz="1600" dirty="0">
                  <a:solidFill>
                    <a:schemeClr val="accent1"/>
                  </a:solidFill>
                  <a:latin typeface="微软雅黑" pitchFamily="34" charset="-122"/>
                  <a:ea typeface="微软雅黑" pitchFamily="34" charset="-122"/>
                </a:rPr>
                <a:t>聯絡方式</a:t>
              </a:r>
              <a:endParaRPr lang="zh-CN" altLang="en-US" sz="1600" dirty="0"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  <p:sp>
          <p:nvSpPr>
            <p:cNvPr id="20" name="椭圆 19"/>
            <p:cNvSpPr/>
            <p:nvPr/>
          </p:nvSpPr>
          <p:spPr>
            <a:xfrm>
              <a:off x="2195969" y="1730685"/>
              <a:ext cx="369332" cy="369332"/>
            </a:xfrm>
            <a:prstGeom prst="ellipse">
              <a:avLst/>
            </a:prstGeom>
            <a:solidFill>
              <a:schemeClr val="tx2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sp>
          <p:nvSpPr>
            <p:cNvPr id="21" name="TextBox 4"/>
            <p:cNvSpPr txBox="1"/>
            <p:nvPr/>
          </p:nvSpPr>
          <p:spPr>
            <a:xfrm>
              <a:off x="2167226" y="1750528"/>
              <a:ext cx="425116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zh-CN" sz="1600" dirty="0" smtClean="0">
                  <a:solidFill>
                    <a:srgbClr val="FFFFFF"/>
                  </a:solidFill>
                  <a:latin typeface="微软雅黑" pitchFamily="34" charset="-122"/>
                  <a:ea typeface="微软雅黑" pitchFamily="34" charset="-122"/>
                </a:rPr>
                <a:t>04</a:t>
              </a:r>
              <a:endParaRPr lang="zh-CN" altLang="en-US" sz="1100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  <p:sp>
        <p:nvSpPr>
          <p:cNvPr id="22" name="Text Placeholder 8"/>
          <p:cNvSpPr txBox="1">
            <a:spLocks/>
          </p:cNvSpPr>
          <p:nvPr/>
        </p:nvSpPr>
        <p:spPr>
          <a:xfrm>
            <a:off x="4932040" y="411510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TW" altLang="en-US" sz="28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教學計畫</a:t>
            </a:r>
            <a:endParaRPr lang="en-US" altLang="zh-CN" sz="28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3" name="Text Placeholder 9"/>
          <p:cNvSpPr txBox="1">
            <a:spLocks/>
          </p:cNvSpPr>
          <p:nvPr/>
        </p:nvSpPr>
        <p:spPr>
          <a:xfrm>
            <a:off x="4932040" y="837028"/>
            <a:ext cx="3495353" cy="36276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altLang="zh-CN" sz="15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eaching plan</a:t>
            </a:r>
            <a:endParaRPr lang="en-US" altLang="zh-CN" sz="15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图片 2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08437" y="2410959"/>
            <a:ext cx="2808312" cy="2808312"/>
          </a:xfrm>
          <a:prstGeom prst="rect">
            <a:avLst/>
          </a:prstGeom>
        </p:spPr>
      </p:pic>
      <p:pic>
        <p:nvPicPr>
          <p:cNvPr id="26" name="图片 2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67601">
            <a:off x="6457926" y="3645216"/>
            <a:ext cx="2481838" cy="2481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74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0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2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23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1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35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5000"/>
                            </p:stCondLst>
                            <p:childTnLst>
                              <p:par>
                                <p:cTn id="45" presetID="26" presetClass="emph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47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5500"/>
                            </p:stCondLst>
                            <p:childTnLst>
                              <p:par>
                                <p:cTn id="4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6000"/>
                            </p:stCondLst>
                            <p:childTnLst>
                              <p:par>
                                <p:cTn id="5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>
                            <p:stCondLst>
                              <p:cond delay="7000"/>
                            </p:stCondLst>
                            <p:childTnLst>
                              <p:par>
                                <p:cTn id="5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2" grpId="1" animBg="1"/>
      <p:bldP spid="7" grpId="0" animBg="1"/>
      <p:bldP spid="7" grpId="1" animBg="1"/>
      <p:bldP spid="12" grpId="0" animBg="1"/>
      <p:bldP spid="12" grpId="1" animBg="1"/>
      <p:bldP spid="17" grpId="0" animBg="1"/>
      <p:bldP spid="17" grpId="1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/>
        </p:blipFill>
        <p:spPr>
          <a:xfrm>
            <a:off x="3707904" y="864096"/>
            <a:ext cx="2664296" cy="149163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2576" y="1531764"/>
            <a:ext cx="3840465" cy="3840465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65" y="2775069"/>
            <a:ext cx="1936383" cy="1936383"/>
          </a:xfrm>
          <a:prstGeom prst="rect">
            <a:avLst/>
          </a:prstGeom>
        </p:spPr>
      </p:pic>
      <p:sp>
        <p:nvSpPr>
          <p:cNvPr id="7" name="文本框 6"/>
          <p:cNvSpPr txBox="1"/>
          <p:nvPr/>
        </p:nvSpPr>
        <p:spPr>
          <a:xfrm>
            <a:off x="2815056" y="2057566"/>
            <a:ext cx="40318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01</a:t>
            </a:r>
            <a:r>
              <a:rPr lang="zh-TW" altLang="en-US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課程設計</a:t>
            </a:r>
            <a:endParaRPr lang="zh-CN" altLang="en-US" sz="60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5812" y="3264669"/>
            <a:ext cx="2451507" cy="2451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209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 txBox="1">
            <a:spLocks/>
          </p:cNvSpPr>
          <p:nvPr/>
        </p:nvSpPr>
        <p:spPr>
          <a:xfrm>
            <a:off x="4932040" y="411510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TW" altLang="en-US" sz="2800" dirty="0" smtClean="0">
                <a:solidFill>
                  <a:schemeClr val="bg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課程設計</a:t>
            </a:r>
            <a:endParaRPr lang="en-US" altLang="zh-CN" sz="2800" dirty="0">
              <a:solidFill>
                <a:schemeClr val="bg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 Placeholder 9"/>
          <p:cNvSpPr txBox="1">
            <a:spLocks/>
          </p:cNvSpPr>
          <p:nvPr/>
        </p:nvSpPr>
        <p:spPr>
          <a:xfrm>
            <a:off x="4932040" y="837028"/>
            <a:ext cx="3495353" cy="362769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endParaRPr lang="en-US" altLang="zh-CN" sz="15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AutoShape 4"/>
          <p:cNvSpPr>
            <a:spLocks noChangeArrowheads="1"/>
          </p:cNvSpPr>
          <p:nvPr>
            <p:custDataLst>
              <p:tags r:id="rId1"/>
            </p:custDataLst>
          </p:nvPr>
        </p:nvSpPr>
        <p:spPr bwMode="white">
          <a:xfrm>
            <a:off x="1004575" y="1709754"/>
            <a:ext cx="2415297" cy="2230148"/>
          </a:xfrm>
          <a:prstGeom prst="roundRect">
            <a:avLst>
              <a:gd name="adj" fmla="val 5304"/>
            </a:avLst>
          </a:prstGeom>
          <a:noFill/>
          <a:ln w="38100" cap="flat" cmpd="sng" algn="ctr">
            <a:solidFill>
              <a:schemeClr val="bg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9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white">
          <a:xfrm>
            <a:off x="3707904" y="1709754"/>
            <a:ext cx="2181209" cy="223014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tx1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0" name="AutoShape 3"/>
          <p:cNvSpPr>
            <a:spLocks noChangeArrowheads="1"/>
          </p:cNvSpPr>
          <p:nvPr/>
        </p:nvSpPr>
        <p:spPr bwMode="auto">
          <a:xfrm>
            <a:off x="4047904" y="1352234"/>
            <a:ext cx="1510068" cy="469799"/>
          </a:xfrm>
          <a:prstGeom prst="roundRect">
            <a:avLst/>
          </a:prstGeom>
          <a:solidFill>
            <a:schemeClr val="tx1"/>
          </a:solidFill>
          <a:ln w="25400" cap="flat" cmpd="sng" algn="ctr">
            <a:noFill/>
            <a:prstDash val="solid"/>
          </a:ln>
          <a:effectLst/>
        </p:spPr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1600" b="1" kern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1" name="TextBox 19"/>
          <p:cNvSpPr txBox="1"/>
          <p:nvPr/>
        </p:nvSpPr>
        <p:spPr bwMode="auto">
          <a:xfrm>
            <a:off x="3946966" y="1408920"/>
            <a:ext cx="1337431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TW" altLang="en-US" sz="1600" b="1" dirty="0" smtClean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進度</a:t>
            </a:r>
            <a:endParaRPr lang="zh-CN" altLang="en-US" sz="1600" b="1" dirty="0">
              <a:solidFill>
                <a:schemeClr val="accent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2" name="AutoShape 3"/>
          <p:cNvSpPr>
            <a:spLocks noChangeArrowheads="1"/>
          </p:cNvSpPr>
          <p:nvPr/>
        </p:nvSpPr>
        <p:spPr bwMode="auto">
          <a:xfrm>
            <a:off x="1315717" y="1342709"/>
            <a:ext cx="1510068" cy="469799"/>
          </a:xfrm>
          <a:prstGeom prst="roundRect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u"/>
              <a:defRPr/>
            </a:pPr>
            <a:endParaRPr lang="zh-CN" altLang="zh-CN" sz="16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3" name="TextBox 21"/>
          <p:cNvSpPr txBox="1"/>
          <p:nvPr/>
        </p:nvSpPr>
        <p:spPr bwMode="auto">
          <a:xfrm>
            <a:off x="1419378" y="1408920"/>
            <a:ext cx="1286465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TW" altLang="en-US" sz="1600" b="1" dirty="0" smtClean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教材</a:t>
            </a:r>
            <a:endParaRPr lang="zh-CN" altLang="zh-CN" sz="1600" b="1" dirty="0">
              <a:solidFill>
                <a:schemeClr val="accent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4" name="矩形 13"/>
          <p:cNvSpPr/>
          <p:nvPr/>
        </p:nvSpPr>
        <p:spPr>
          <a:xfrm>
            <a:off x="1033737" y="2011079"/>
            <a:ext cx="2386135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2" indent="-171450" defTabSz="912813" eaLnBrk="0" hangingPunct="0">
              <a:buClr>
                <a:srgbClr val="0070C0"/>
              </a:buClr>
              <a:buSzPct val="8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r>
              <a:rPr lang="en-US" altLang="zh-TW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Happy Campers 4</a:t>
            </a:r>
            <a:endParaRPr lang="en-US" altLang="zh-CN" sz="1600" spc="50" dirty="0">
              <a:ln w="11430"/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  <a:p>
            <a:pPr marL="0" lvl="2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en-US" altLang="zh-CN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Book &amp; Language Lodge</a:t>
            </a:r>
            <a:endParaRPr lang="en-US" altLang="zh-CN" sz="1600" spc="50" dirty="0">
              <a:ln w="11430"/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  <a:p>
            <a:pPr marL="171450" lvl="2" indent="-171450" defTabSz="912813" eaLnBrk="0" hangingPunct="0">
              <a:buClr>
                <a:srgbClr val="0070C0"/>
              </a:buClr>
              <a:buSzPct val="8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r>
              <a:rPr lang="zh-TW" altLang="en-US" sz="1600" spc="50" dirty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英語繪本</a:t>
            </a:r>
            <a:endParaRPr lang="en-US" altLang="zh-TW" sz="1600" spc="50" dirty="0">
              <a:ln w="11430"/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  <a:p>
            <a:pPr marL="171450" lvl="2" indent="-171450" defTabSz="912813" eaLnBrk="0" hangingPunct="0">
              <a:buClr>
                <a:srgbClr val="0070C0"/>
              </a:buClr>
              <a:buSzPct val="80000"/>
              <a:buFont typeface="Wingdings" panose="05000000000000000000" pitchFamily="2" charset="2"/>
              <a:buChar char="u"/>
              <a:tabLst>
                <a:tab pos="136525" algn="l"/>
              </a:tabLst>
              <a:defRPr/>
            </a:pPr>
            <a:r>
              <a:rPr lang="zh-TW" altLang="en-US" sz="1600" spc="50" dirty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網路</a:t>
            </a:r>
            <a:r>
              <a:rPr lang="zh-TW" altLang="en-US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資源</a:t>
            </a:r>
            <a:r>
              <a:rPr lang="en-US" altLang="zh-TW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(</a:t>
            </a:r>
            <a:r>
              <a:rPr lang="zh-TW" altLang="en-US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歌曲</a:t>
            </a:r>
            <a:r>
              <a:rPr lang="en-US" altLang="zh-TW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/</a:t>
            </a:r>
            <a:r>
              <a:rPr lang="zh-TW" altLang="en-US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短片</a:t>
            </a:r>
            <a:r>
              <a:rPr lang="en-US" altLang="zh-TW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)</a:t>
            </a:r>
            <a:endParaRPr lang="en-US" altLang="zh-CN" sz="1600" spc="50" dirty="0">
              <a:ln w="11430"/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6" name="矩形 15"/>
          <p:cNvSpPr/>
          <p:nvPr/>
        </p:nvSpPr>
        <p:spPr>
          <a:xfrm>
            <a:off x="3584850" y="1936333"/>
            <a:ext cx="21190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TW" altLang="en-US" sz="1600" spc="50" dirty="0" smtClean="0">
                <a:ln w="11430"/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上學期</a:t>
            </a:r>
            <a:endParaRPr lang="en-US" altLang="zh-TW" sz="1600" spc="50" dirty="0" smtClean="0">
              <a:ln w="11430"/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TW" altLang="en-US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期中</a:t>
            </a:r>
            <a:r>
              <a:rPr lang="en-US" altLang="zh-TW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:Unit 1-2</a:t>
            </a:r>
          </a:p>
          <a:p>
            <a:pPr marL="0" lvl="2" algn="ctr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TW" altLang="en-US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期末</a:t>
            </a:r>
            <a:r>
              <a:rPr lang="en-US" altLang="zh-TW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:Unit 3-4</a:t>
            </a:r>
            <a:endParaRPr lang="zh-CN" altLang="en-US" sz="1600" spc="50" dirty="0">
              <a:ln w="11430"/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7" name="矩形 16"/>
          <p:cNvSpPr/>
          <p:nvPr/>
        </p:nvSpPr>
        <p:spPr>
          <a:xfrm>
            <a:off x="3586872" y="2768782"/>
            <a:ext cx="2119037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TW" altLang="en-US" sz="1600" spc="50" dirty="0">
                <a:ln w="11430"/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下</a:t>
            </a:r>
            <a:r>
              <a:rPr lang="zh-TW" altLang="en-US" sz="1600" spc="50" dirty="0" smtClean="0">
                <a:ln w="11430"/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學期</a:t>
            </a:r>
            <a:endParaRPr lang="en-US" altLang="zh-TW" sz="1600" spc="50" dirty="0" smtClean="0">
              <a:ln w="11430"/>
              <a:solidFill>
                <a:srgbClr val="FF0000"/>
              </a:solidFill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TW" altLang="en-US" sz="1600" spc="50" dirty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期中</a:t>
            </a:r>
            <a:r>
              <a:rPr lang="en-US" altLang="zh-TW" sz="1600" spc="50" dirty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:Unit </a:t>
            </a:r>
            <a:r>
              <a:rPr lang="en-US" altLang="zh-TW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5-6</a:t>
            </a:r>
            <a:endParaRPr lang="en-US" altLang="zh-TW" sz="1600" spc="50" dirty="0">
              <a:ln w="11430"/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  <a:p>
            <a:pPr marL="0" lvl="2" algn="ctr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TW" altLang="en-US" sz="1600" spc="50" dirty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期末</a:t>
            </a:r>
            <a:r>
              <a:rPr lang="en-US" altLang="zh-TW" sz="1600" spc="50" dirty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:Unit </a:t>
            </a:r>
            <a:r>
              <a:rPr lang="en-US" altLang="zh-TW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7-8</a:t>
            </a:r>
          </a:p>
        </p:txBody>
      </p:sp>
      <p:sp>
        <p:nvSpPr>
          <p:cNvPr id="18" name="AutoShape 4"/>
          <p:cNvSpPr>
            <a:spLocks noChangeArrowheads="1"/>
          </p:cNvSpPr>
          <p:nvPr>
            <p:custDataLst>
              <p:tags r:id="rId3"/>
            </p:custDataLst>
          </p:nvPr>
        </p:nvSpPr>
        <p:spPr bwMode="white">
          <a:xfrm>
            <a:off x="6098942" y="1709754"/>
            <a:ext cx="2181209" cy="1510068"/>
          </a:xfrm>
          <a:prstGeom prst="roundRect">
            <a:avLst>
              <a:gd name="adj" fmla="val 7012"/>
            </a:avLst>
          </a:prstGeom>
          <a:noFill/>
          <a:ln w="38100" cap="flat" cmpd="sng" algn="ctr">
            <a:solidFill>
              <a:schemeClr val="bg2"/>
            </a:solidFill>
            <a:prstDash val="solid"/>
          </a:ln>
          <a:effectLst/>
        </p:spPr>
        <p:txBody>
          <a:bodyPr anchor="ctr">
            <a:sp3d/>
          </a:bodyPr>
          <a:lstStyle/>
          <a:p>
            <a:pPr marL="0" lvl="2" algn="ctr" eaLnBrk="0" fontAlgn="ctr" hangingPunct="0">
              <a:buClr>
                <a:srgbClr val="FF0000"/>
              </a:buClr>
              <a:buSzPct val="70000"/>
              <a:buFont typeface="Wingdings" pitchFamily="2" charset="2"/>
              <a:buChar char="n"/>
              <a:tabLst>
                <a:tab pos="136525" algn="l"/>
              </a:tabLst>
              <a:defRPr/>
            </a:pPr>
            <a:endParaRPr lang="zh-CN" altLang="en-US" sz="1400" b="1" kern="0" dirty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19" name="AutoShape 3"/>
          <p:cNvSpPr>
            <a:spLocks noChangeArrowheads="1"/>
          </p:cNvSpPr>
          <p:nvPr/>
        </p:nvSpPr>
        <p:spPr bwMode="auto">
          <a:xfrm>
            <a:off x="6410084" y="1342709"/>
            <a:ext cx="1510068" cy="469799"/>
          </a:xfrm>
          <a:prstGeom prst="roundRect">
            <a:avLst/>
          </a:prstGeom>
          <a:solidFill>
            <a:schemeClr val="bg2"/>
          </a:solidFill>
          <a:ln w="25400" cap="flat" cmpd="sng" algn="ctr">
            <a:noFill/>
            <a:prstDash val="solid"/>
          </a:ln>
          <a:effectLst/>
        </p:spPr>
        <p:txBody>
          <a:bodyPr anchor="ctr">
            <a:sp3d/>
          </a:bodyPr>
          <a:lstStyle/>
          <a:p>
            <a:pPr algn="ctr" eaLnBrk="0" fontAlgn="ctr" hangingPunct="0">
              <a:buClr>
                <a:srgbClr val="FF0000"/>
              </a:buClr>
              <a:buSzPct val="70000"/>
              <a:defRPr/>
            </a:pPr>
            <a:endParaRPr lang="zh-CN" altLang="zh-CN" sz="1600" b="1" kern="0">
              <a:solidFill>
                <a:srgbClr val="FFFFFF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0" name="TextBox 28"/>
          <p:cNvSpPr txBox="1"/>
          <p:nvPr/>
        </p:nvSpPr>
        <p:spPr bwMode="auto">
          <a:xfrm>
            <a:off x="6490121" y="1408920"/>
            <a:ext cx="1337431" cy="374571"/>
          </a:xfrm>
          <a:prstGeom prst="roundRect">
            <a:avLst/>
          </a:prstGeom>
          <a:noFill/>
          <a:scene3d>
            <a:camera prst="orthographicFront"/>
            <a:lightRig rig="threePt" dir="t"/>
          </a:scene3d>
          <a:sp3d/>
        </p:spPr>
        <p:txBody>
          <a:bodyPr wrap="square">
            <a:spAutoFit/>
          </a:bodyPr>
          <a:lstStyle/>
          <a:p>
            <a:pPr algn="ctr">
              <a:buClr>
                <a:srgbClr val="7F7F7F"/>
              </a:buClr>
              <a:defRPr/>
            </a:pPr>
            <a:r>
              <a:rPr lang="zh-TW" altLang="en-US" sz="1600" b="1" dirty="0" smtClean="0">
                <a:solidFill>
                  <a:schemeClr val="accent2"/>
                </a:solidFill>
                <a:latin typeface="微软雅黑" pitchFamily="34" charset="-122"/>
                <a:ea typeface="微软雅黑" pitchFamily="34" charset="-122"/>
              </a:rPr>
              <a:t>教學目標</a:t>
            </a:r>
            <a:endParaRPr lang="zh-CN" altLang="en-US" sz="1600" b="1" dirty="0">
              <a:solidFill>
                <a:schemeClr val="accent2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1" name="矩形 20"/>
          <p:cNvSpPr/>
          <p:nvPr/>
        </p:nvSpPr>
        <p:spPr>
          <a:xfrm>
            <a:off x="6128005" y="2011079"/>
            <a:ext cx="211903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TW" altLang="en-US" sz="1600" b="1" spc="50" dirty="0">
                <a:ln w="11430"/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聽說</a:t>
            </a:r>
            <a:r>
              <a:rPr lang="zh-TW" altLang="en-US" sz="1600" b="1" spc="50" dirty="0" smtClean="0">
                <a:ln w="11430"/>
                <a:solidFill>
                  <a:srgbClr val="FF0000"/>
                </a:solidFill>
                <a:latin typeface="微软雅黑" pitchFamily="34" charset="-122"/>
                <a:ea typeface="微软雅黑" pitchFamily="34" charset="-122"/>
              </a:rPr>
              <a:t>讀寫</a:t>
            </a:r>
            <a:r>
              <a:rPr lang="zh-TW" altLang="en-US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並重</a:t>
            </a:r>
            <a:endParaRPr lang="zh-CN" altLang="en-US" sz="1600" spc="50" dirty="0">
              <a:ln w="11430"/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2" name="矩形 21"/>
          <p:cNvSpPr/>
          <p:nvPr/>
        </p:nvSpPr>
        <p:spPr>
          <a:xfrm>
            <a:off x="6128005" y="2576229"/>
            <a:ext cx="21190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2" algn="ctr" defTabSz="912813" eaLnBrk="0" hangingPunct="0">
              <a:buClr>
                <a:srgbClr val="0070C0"/>
              </a:buClr>
              <a:buSzPct val="80000"/>
              <a:tabLst>
                <a:tab pos="136525" algn="l"/>
              </a:tabLst>
              <a:defRPr/>
            </a:pPr>
            <a:r>
              <a:rPr lang="zh-TW" altLang="en-US" sz="1600" spc="50" dirty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實際</a:t>
            </a:r>
            <a:r>
              <a:rPr lang="zh-TW" altLang="en-US" sz="1600" spc="50" dirty="0" smtClean="0">
                <a:ln w="11430"/>
                <a:solidFill>
                  <a:schemeClr val="accent1"/>
                </a:solidFill>
                <a:latin typeface="微软雅黑" pitchFamily="34" charset="-122"/>
                <a:ea typeface="微软雅黑" pitchFamily="34" charset="-122"/>
              </a:rPr>
              <a:t>運用於生活中的情境</a:t>
            </a:r>
            <a:endParaRPr lang="en-US" altLang="zh-CN" sz="1600" spc="50" dirty="0">
              <a:ln w="11430"/>
              <a:solidFill>
                <a:schemeClr val="accent1"/>
              </a:solidFill>
              <a:latin typeface="微软雅黑" pitchFamily="34" charset="-122"/>
              <a:ea typeface="微软雅黑" pitchFamily="34" charset="-122"/>
            </a:endParaRPr>
          </a:p>
        </p:txBody>
      </p:sp>
      <p:sp>
        <p:nvSpPr>
          <p:cNvPr id="2" name="文字方塊 1"/>
          <p:cNvSpPr txBox="1"/>
          <p:nvPr/>
        </p:nvSpPr>
        <p:spPr>
          <a:xfrm>
            <a:off x="6071533" y="3615753"/>
            <a:ext cx="270368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TW" dirty="0" smtClean="0"/>
              <a:t>Note: 12/26</a:t>
            </a:r>
            <a:r>
              <a:rPr lang="zh-TW" altLang="en-US" dirty="0" smtClean="0">
                <a:solidFill>
                  <a:srgbClr val="FF0000"/>
                </a:solidFill>
              </a:rPr>
              <a:t>英語演說</a:t>
            </a:r>
            <a:r>
              <a:rPr lang="zh-TW" altLang="en-US" dirty="0" smtClean="0"/>
              <a:t>比賽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2750115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900" decel="100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500"/>
                            </p:stCondLst>
                            <p:childTnLst>
                              <p:par>
                                <p:cTn id="16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1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22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2500"/>
                            </p:stCondLst>
                            <p:childTnLst>
                              <p:par>
                                <p:cTn id="24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900" decel="100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4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5500"/>
                            </p:stCondLst>
                            <p:childTnLst>
                              <p:par>
                                <p:cTn id="47" presetID="3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900" decel="100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-.03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" accel="100000" fill="hold">
                                          <p:stCondLst>
                                            <p:cond delay="90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03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6500"/>
                            </p:stCondLst>
                            <p:childTnLst>
                              <p:par>
                                <p:cTn id="5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5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7000"/>
                            </p:stCondLst>
                            <p:childTnLst>
                              <p:par>
                                <p:cTn id="58" presetID="1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Top)">
                                      <p:cBhvr>
                                        <p:cTn id="6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7500"/>
                            </p:stCondLst>
                            <p:childTnLst>
                              <p:par>
                                <p:cTn id="62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4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8000"/>
                            </p:stCondLst>
                            <p:childTnLst>
                              <p:par>
                                <p:cTn id="66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68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/>
      <p:bldP spid="12" grpId="0" animBg="1"/>
      <p:bldP spid="13" grpId="0"/>
      <p:bldP spid="14" grpId="0"/>
      <p:bldP spid="16" grpId="0"/>
      <p:bldP spid="17" grpId="0"/>
      <p:bldP spid="18" grpId="0" animBg="1"/>
      <p:bldP spid="19" grpId="0" animBg="1"/>
      <p:bldP spid="20" grpId="0"/>
      <p:bldP spid="21" grpId="0"/>
      <p:bldP spid="2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標題 1"/>
          <p:cNvSpPr txBox="1">
            <a:spLocks/>
          </p:cNvSpPr>
          <p:nvPr/>
        </p:nvSpPr>
        <p:spPr bwMode="auto">
          <a:xfrm>
            <a:off x="817240" y="233189"/>
            <a:ext cx="7137004" cy="8139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王漢宗新潮體一波浪" panose="02020600000000000000" pitchFamily="18" charset="-120"/>
                <a:ea typeface="王漢宗新潮體一波浪" panose="02020600000000000000" pitchFamily="18" charset="-120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5pPr>
            <a:lvl6pPr marL="4572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6pPr>
            <a:lvl7pPr marL="9144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7pPr>
            <a:lvl8pPr marL="13716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8pPr>
            <a:lvl9pPr marL="1828800"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  <a:ea typeface="宋体" pitchFamily="2" charset="-122"/>
              </a:defRPr>
            </a:lvl9pPr>
          </a:lstStyle>
          <a:p>
            <a:pPr>
              <a:buFontTx/>
            </a:pPr>
            <a:r>
              <a:rPr lang="zh-TW" altLang="en-US" kern="0" smtClean="0"/>
              <a:t>課堂活動</a:t>
            </a:r>
            <a:endParaRPr lang="zh-TW" altLang="en-US" kern="0" dirty="0" smtClean="0"/>
          </a:p>
        </p:txBody>
      </p:sp>
      <p:graphicFrame>
        <p:nvGraphicFramePr>
          <p:cNvPr id="3" name="資料庫圖表 2"/>
          <p:cNvGraphicFramePr/>
          <p:nvPr>
            <p:extLst>
              <p:ext uri="{D42A27DB-BD31-4B8C-83A1-F6EECF244321}">
                <p14:modId xmlns:p14="http://schemas.microsoft.com/office/powerpoint/2010/main" val="2451694398"/>
              </p:ext>
            </p:extLst>
          </p:nvPr>
        </p:nvGraphicFramePr>
        <p:xfrm>
          <a:off x="1547664" y="1155303"/>
          <a:ext cx="6182344" cy="333320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062041">
            <a:off x="971601" y="233190"/>
            <a:ext cx="1800200" cy="1800200"/>
          </a:xfrm>
          <a:prstGeom prst="rect">
            <a:avLst/>
          </a:prstGeom>
        </p:spPr>
      </p:pic>
      <p:pic>
        <p:nvPicPr>
          <p:cNvPr id="5" name="图片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96136" y="2775069"/>
            <a:ext cx="1936383" cy="19363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1098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/>
        </p:blipFill>
        <p:spPr>
          <a:xfrm>
            <a:off x="3707904" y="864096"/>
            <a:ext cx="2664296" cy="149163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2576" y="1531764"/>
            <a:ext cx="3840465" cy="384046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65" y="2775069"/>
            <a:ext cx="1936383" cy="193638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815056" y="2057566"/>
            <a:ext cx="403187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02</a:t>
            </a:r>
            <a:r>
              <a:rPr lang="zh-TW" altLang="en-US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評量方式</a:t>
            </a:r>
            <a:endParaRPr lang="zh-CN" altLang="en-US" sz="60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5812" y="3264669"/>
            <a:ext cx="2451507" cy="2451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2382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 txBox="1">
            <a:spLocks/>
          </p:cNvSpPr>
          <p:nvPr/>
        </p:nvSpPr>
        <p:spPr>
          <a:xfrm>
            <a:off x="4932040" y="411510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TW" altLang="en-US" sz="28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評量方式</a:t>
            </a:r>
            <a:endParaRPr lang="en-US" altLang="zh-CN" sz="28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37"/>
          <p:cNvSpPr txBox="1"/>
          <p:nvPr/>
        </p:nvSpPr>
        <p:spPr>
          <a:xfrm>
            <a:off x="5780856" y="1425775"/>
            <a:ext cx="2895600" cy="389329"/>
          </a:xfrm>
          <a:prstGeom prst="rect">
            <a:avLst/>
          </a:prstGeom>
          <a:noFill/>
        </p:spPr>
        <p:txBody>
          <a:bodyPr lIns="68573" tIns="34286" rIns="68573" bIns="34286">
            <a:spAutoFit/>
          </a:bodyPr>
          <a:lstStyle/>
          <a:p>
            <a:pPr defTabSz="685732" eaLnBrk="1" fontAlgn="auto" hangingPunct="1">
              <a:lnSpc>
                <a:spcPct val="13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TW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中考 </a:t>
            </a:r>
            <a:r>
              <a:rPr lang="en-US" altLang="zh-TW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0/26</a:t>
            </a:r>
            <a:r>
              <a:rPr lang="zh-TW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期末考</a:t>
            </a:r>
            <a:r>
              <a:rPr lang="en-US" altLang="zh-TW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/11</a:t>
            </a:r>
            <a:endParaRPr lang="zh-CN" altLang="en-US" sz="16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空心弧 4"/>
          <p:cNvSpPr>
            <a:spLocks/>
          </p:cNvSpPr>
          <p:nvPr/>
        </p:nvSpPr>
        <p:spPr bwMode="auto">
          <a:xfrm rot="16200000">
            <a:off x="855465" y="843559"/>
            <a:ext cx="2532460" cy="2532460"/>
          </a:xfrm>
          <a:custGeom>
            <a:avLst/>
            <a:gdLst>
              <a:gd name="T0" fmla="*/ 954518 w 21600"/>
              <a:gd name="T1" fmla="*/ 2897635 h 21600"/>
              <a:gd name="T2" fmla="*/ 273724 w 21600"/>
              <a:gd name="T3" fmla="*/ 1688307 h 21600"/>
              <a:gd name="T4" fmla="*/ 1688306 w 21600"/>
              <a:gd name="T5" fmla="*/ 273725 h 21600"/>
              <a:gd name="T6" fmla="*/ 3102888 w 21600"/>
              <a:gd name="T7" fmla="*/ 1688307 h 21600"/>
              <a:gd name="T8" fmla="*/ 2421937 w 21600"/>
              <a:gd name="T9" fmla="*/ 2897635 h 21600"/>
              <a:gd name="T10" fmla="*/ 2563880 w 21600"/>
              <a:gd name="T11" fmla="*/ 3131653 h 21600"/>
              <a:gd name="T12" fmla="*/ 3376612 w 21600"/>
              <a:gd name="T13" fmla="*/ 1688307 h 21600"/>
              <a:gd name="T14" fmla="*/ 1688306 w 21600"/>
              <a:gd name="T15" fmla="*/ 0 h 21600"/>
              <a:gd name="T16" fmla="*/ 0 w 21600"/>
              <a:gd name="T17" fmla="*/ 1688307 h 21600"/>
              <a:gd name="T18" fmla="*/ 812575 w 21600"/>
              <a:gd name="T19" fmla="*/ 3131653 h 21600"/>
              <a:gd name="T20" fmla="*/ 954518 w 21600"/>
              <a:gd name="T21" fmla="*/ 2897635 h 21600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1600"/>
              <a:gd name="T34" fmla="*/ 0 h 21600"/>
              <a:gd name="T35" fmla="*/ 21600 w 21600"/>
              <a:gd name="T36" fmla="*/ 18772 h 21600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1600" h="21600">
                <a:moveTo>
                  <a:pt x="6106" y="18536"/>
                </a:moveTo>
                <a:cubicBezTo>
                  <a:pt x="3402" y="16896"/>
                  <a:pt x="1751" y="13962"/>
                  <a:pt x="1751" y="10800"/>
                </a:cubicBezTo>
                <a:cubicBezTo>
                  <a:pt x="1751" y="5802"/>
                  <a:pt x="5802" y="1751"/>
                  <a:pt x="10800" y="1751"/>
                </a:cubicBezTo>
                <a:cubicBezTo>
                  <a:pt x="15797" y="1751"/>
                  <a:pt x="19849" y="5802"/>
                  <a:pt x="19849" y="10800"/>
                </a:cubicBezTo>
                <a:cubicBezTo>
                  <a:pt x="19849" y="13962"/>
                  <a:pt x="18197" y="16896"/>
                  <a:pt x="15493" y="18536"/>
                </a:cubicBezTo>
                <a:lnTo>
                  <a:pt x="16401" y="20033"/>
                </a:lnTo>
                <a:cubicBezTo>
                  <a:pt x="19628" y="18075"/>
                  <a:pt x="21600" y="14574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  <a:cubicBezTo>
                  <a:pt x="4835" y="0"/>
                  <a:pt x="0" y="4835"/>
                  <a:pt x="0" y="10800"/>
                </a:cubicBezTo>
                <a:cubicBezTo>
                  <a:pt x="-1" y="14574"/>
                  <a:pt x="1971" y="18075"/>
                  <a:pt x="5198" y="20033"/>
                </a:cubicBezTo>
                <a:lnTo>
                  <a:pt x="6106" y="18536"/>
                </a:lnTo>
                <a:close/>
              </a:path>
            </a:pathLst>
          </a:custGeom>
          <a:solidFill>
            <a:schemeClr val="tx1">
              <a:alpha val="83920"/>
            </a:schemeClr>
          </a:solidFill>
          <a:ln>
            <a:noFill/>
          </a:ln>
        </p:spPr>
        <p:txBody>
          <a:bodyPr anchor="ctr"/>
          <a:lstStyle/>
          <a:p>
            <a:endParaRPr lang="zh-CN" altLang="en-US" sz="1069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5"/>
          <p:cNvSpPr>
            <a:spLocks noChangeArrowheads="1"/>
          </p:cNvSpPr>
          <p:nvPr/>
        </p:nvSpPr>
        <p:spPr bwMode="auto">
          <a:xfrm>
            <a:off x="1538883" y="1913931"/>
            <a:ext cx="1323814" cy="4154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 sz="1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defTabSz="91281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TW" altLang="en-US" sz="2100" b="1" dirty="0"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rPr>
              <a:t>聽說讀寫</a:t>
            </a:r>
            <a:endParaRPr lang="zh-CN" altLang="en-US" sz="2100" b="1" dirty="0"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grpSp>
        <p:nvGrpSpPr>
          <p:cNvPr id="11" name="组合 10"/>
          <p:cNvGrpSpPr>
            <a:grpSpLocks/>
          </p:cNvGrpSpPr>
          <p:nvPr/>
        </p:nvGrpSpPr>
        <p:grpSpPr bwMode="auto">
          <a:xfrm>
            <a:off x="5292699" y="1076924"/>
            <a:ext cx="1881783" cy="415498"/>
            <a:chOff x="7073484" y="2441805"/>
            <a:chExt cx="2509908" cy="553049"/>
          </a:xfrm>
        </p:grpSpPr>
        <p:sp>
          <p:nvSpPr>
            <p:cNvPr id="12" name="TextBox 138"/>
            <p:cNvSpPr txBox="1">
              <a:spLocks noChangeArrowheads="1"/>
            </p:cNvSpPr>
            <p:nvPr/>
          </p:nvSpPr>
          <p:spPr bwMode="auto">
            <a:xfrm>
              <a:off x="7433541" y="2441805"/>
              <a:ext cx="2149851" cy="55304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73" tIns="0" rIns="68573" b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r>
                <a:rPr lang="zh-TW" altLang="en-US" sz="18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定期評量</a:t>
              </a:r>
              <a:r>
                <a:rPr lang="en-US" altLang="zh-TW" sz="18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40%</a:t>
              </a:r>
              <a:r>
                <a:rPr lang="zh-TW" altLang="en-US" sz="18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　</a:t>
              </a:r>
              <a:endPara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  <a:cs typeface="华文黑体" charset="-122"/>
              </a:endParaRPr>
            </a:p>
          </p:txBody>
        </p:sp>
        <p:sp>
          <p:nvSpPr>
            <p:cNvPr id="13" name="矩形 22"/>
            <p:cNvSpPr>
              <a:spLocks noChangeArrowheads="1"/>
            </p:cNvSpPr>
            <p:nvPr/>
          </p:nvSpPr>
          <p:spPr bwMode="auto">
            <a:xfrm>
              <a:off x="7073484" y="2574698"/>
              <a:ext cx="360058" cy="230796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 sz="1425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</p:grpSp>
      <p:sp>
        <p:nvSpPr>
          <p:cNvPr id="14" name="TextBox 71"/>
          <p:cNvSpPr txBox="1"/>
          <p:nvPr/>
        </p:nvSpPr>
        <p:spPr>
          <a:xfrm>
            <a:off x="5112060" y="2258024"/>
            <a:ext cx="3960441" cy="389329"/>
          </a:xfrm>
          <a:prstGeom prst="rect">
            <a:avLst/>
          </a:prstGeom>
          <a:noFill/>
        </p:spPr>
        <p:txBody>
          <a:bodyPr wrap="square" lIns="68573" tIns="34286" rIns="68573" bIns="34286">
            <a:spAutoFit/>
          </a:bodyPr>
          <a:lstStyle/>
          <a:p>
            <a:pPr defTabSz="685732">
              <a:lnSpc>
                <a:spcPct val="130000"/>
              </a:lnSpc>
              <a:defRPr/>
            </a:pPr>
            <a:r>
              <a:rPr lang="zh-TW" altLang="en-US" sz="16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參與度</a:t>
            </a:r>
            <a:r>
              <a:rPr lang="zh-TW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</a:t>
            </a:r>
            <a:r>
              <a:rPr lang="zh-TW" altLang="en-US" sz="16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組</a:t>
            </a:r>
            <a:r>
              <a:rPr lang="zh-TW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作</a:t>
            </a:r>
            <a:r>
              <a:rPr lang="zh-TW" altLang="en-US" sz="16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學習態度、平時</a:t>
            </a:r>
            <a:r>
              <a:rPr lang="zh-TW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小考  </a:t>
            </a:r>
            <a:endParaRPr lang="zh-CN" altLang="en-US" sz="16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5" name="组合 14"/>
          <p:cNvGrpSpPr>
            <a:grpSpLocks/>
          </p:cNvGrpSpPr>
          <p:nvPr/>
        </p:nvGrpSpPr>
        <p:grpSpPr bwMode="auto">
          <a:xfrm>
            <a:off x="5292699" y="1850826"/>
            <a:ext cx="1881781" cy="415498"/>
            <a:chOff x="7073484" y="3472766"/>
            <a:chExt cx="2509905" cy="555550"/>
          </a:xfrm>
        </p:grpSpPr>
        <p:sp>
          <p:nvSpPr>
            <p:cNvPr id="16" name="TextBox 72"/>
            <p:cNvSpPr txBox="1">
              <a:spLocks noChangeArrowheads="1"/>
            </p:cNvSpPr>
            <p:nvPr/>
          </p:nvSpPr>
          <p:spPr bwMode="auto">
            <a:xfrm>
              <a:off x="7433543" y="3472766"/>
              <a:ext cx="2149846" cy="555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73" tIns="0" rIns="68573" b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r>
                <a:rPr lang="zh-TW" altLang="en-US" sz="18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課堂評量</a:t>
              </a:r>
              <a:r>
                <a:rPr lang="en-US" altLang="zh-TW" sz="18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30%</a:t>
              </a:r>
              <a:endParaRPr lang="zh-CN" altLang="en-US" sz="1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华文黑体" charset="-122"/>
              </a:endParaRPr>
            </a:p>
          </p:txBody>
        </p:sp>
        <p:sp>
          <p:nvSpPr>
            <p:cNvPr id="17" name="矩形 22"/>
            <p:cNvSpPr>
              <a:spLocks noChangeArrowheads="1"/>
            </p:cNvSpPr>
            <p:nvPr/>
          </p:nvSpPr>
          <p:spPr bwMode="auto">
            <a:xfrm>
              <a:off x="7073484" y="3605658"/>
              <a:ext cx="360058" cy="23079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 sz="1425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</p:grpSp>
      <p:sp>
        <p:nvSpPr>
          <p:cNvPr id="18" name="TextBox 74"/>
          <p:cNvSpPr txBox="1"/>
          <p:nvPr/>
        </p:nvSpPr>
        <p:spPr>
          <a:xfrm>
            <a:off x="5780856" y="2996209"/>
            <a:ext cx="2895600" cy="358167"/>
          </a:xfrm>
          <a:prstGeom prst="rect">
            <a:avLst/>
          </a:prstGeom>
          <a:noFill/>
        </p:spPr>
        <p:txBody>
          <a:bodyPr lIns="68573" tIns="34286" rIns="68573" bIns="34286">
            <a:spAutoFit/>
          </a:bodyPr>
          <a:lstStyle/>
          <a:p>
            <a:pPr defTabSz="685732">
              <a:lnSpc>
                <a:spcPct val="130000"/>
              </a:lnSpc>
              <a:defRPr/>
            </a:pPr>
            <a:r>
              <a:rPr lang="zh-TW" altLang="en-US" sz="16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書寫作業、</a:t>
            </a:r>
            <a:r>
              <a:rPr lang="zh-TW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習作</a:t>
            </a:r>
            <a:r>
              <a:rPr lang="zh-TW" altLang="en-US" sz="1600" dirty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、學習</a:t>
            </a:r>
            <a:r>
              <a:rPr lang="zh-TW" altLang="en-US" sz="1600" dirty="0" smtClean="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單</a:t>
            </a:r>
            <a:endParaRPr lang="zh-CN" altLang="en-US" sz="1600" dirty="0">
              <a:solidFill>
                <a:schemeClr val="accent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9" name="组合 18"/>
          <p:cNvGrpSpPr>
            <a:grpSpLocks/>
          </p:cNvGrpSpPr>
          <p:nvPr/>
        </p:nvGrpSpPr>
        <p:grpSpPr bwMode="auto">
          <a:xfrm>
            <a:off x="5292701" y="2647353"/>
            <a:ext cx="1799580" cy="415498"/>
            <a:chOff x="7073484" y="4534743"/>
            <a:chExt cx="2400265" cy="555550"/>
          </a:xfrm>
        </p:grpSpPr>
        <p:sp>
          <p:nvSpPr>
            <p:cNvPr id="20" name="TextBox 75"/>
            <p:cNvSpPr txBox="1">
              <a:spLocks noChangeArrowheads="1"/>
            </p:cNvSpPr>
            <p:nvPr/>
          </p:nvSpPr>
          <p:spPr bwMode="auto">
            <a:xfrm>
              <a:off x="7433542" y="4534743"/>
              <a:ext cx="2040207" cy="5555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8573" tIns="0" rIns="68573" bIns="0">
              <a:spAutoFit/>
            </a:bodyPr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>
                <a:lnSpc>
                  <a:spcPct val="150000"/>
                </a:lnSpc>
              </a:pPr>
              <a:r>
                <a:rPr lang="zh-TW" altLang="en-US" sz="1800" dirty="0"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作業</a:t>
              </a:r>
              <a:r>
                <a:rPr lang="zh-TW" altLang="en-US" sz="18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成果</a:t>
              </a:r>
              <a:r>
                <a:rPr lang="en-US" altLang="zh-TW" sz="1800" dirty="0" smtClean="0">
                  <a:latin typeface="微软雅黑" panose="020B0503020204020204" pitchFamily="34" charset="-122"/>
                  <a:ea typeface="微软雅黑" panose="020B0503020204020204" pitchFamily="34" charset="-122"/>
                  <a:cs typeface="华文黑体" charset="-122"/>
                </a:rPr>
                <a:t>30%</a:t>
              </a:r>
              <a:endParaRPr lang="zh-CN" altLang="en-US" sz="1800" dirty="0">
                <a:latin typeface="微软雅黑" panose="020B0503020204020204" pitchFamily="34" charset="-122"/>
                <a:ea typeface="微软雅黑" panose="020B0503020204020204" pitchFamily="34" charset="-122"/>
                <a:cs typeface="华文黑体" charset="-122"/>
              </a:endParaRPr>
            </a:p>
          </p:txBody>
        </p:sp>
        <p:sp>
          <p:nvSpPr>
            <p:cNvPr id="21" name="矩形 22"/>
            <p:cNvSpPr>
              <a:spLocks noChangeArrowheads="1"/>
            </p:cNvSpPr>
            <p:nvPr/>
          </p:nvSpPr>
          <p:spPr bwMode="auto">
            <a:xfrm>
              <a:off x="7073484" y="4667635"/>
              <a:ext cx="360058" cy="230796"/>
            </a:xfrm>
            <a:prstGeom prst="rect">
              <a:avLst/>
            </a:prstGeom>
            <a:solidFill>
              <a:schemeClr val="tx1">
                <a:alpha val="72940"/>
              </a:scheme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1pPr>
              <a:lvl2pPr marL="742950" indent="-28575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2pPr>
              <a:lvl3pPr marL="11430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3pPr>
              <a:lvl4pPr marL="16002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4pPr>
              <a:lvl5pPr marL="2057400" indent="-228600"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5pPr>
              <a:lvl6pPr marL="25146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6pPr>
              <a:lvl7pPr marL="29718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7pPr>
              <a:lvl8pPr marL="34290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8pPr>
              <a:lvl9pPr marL="3886200" indent="-228600" defTabSz="912813" fontAlgn="base">
                <a:spcBef>
                  <a:spcPct val="0"/>
                </a:spcBef>
                <a:spcAft>
                  <a:spcPct val="0"/>
                </a:spcAft>
                <a:defRPr sz="1900">
                  <a:solidFill>
                    <a:schemeClr val="tx1"/>
                  </a:solidFill>
                  <a:latin typeface="Calibri" panose="020F050202020403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en-US" sz="1800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</p:grpSp>
      <p:grpSp>
        <p:nvGrpSpPr>
          <p:cNvPr id="22" name="组合 21"/>
          <p:cNvGrpSpPr>
            <a:grpSpLocks/>
          </p:cNvGrpSpPr>
          <p:nvPr/>
        </p:nvGrpSpPr>
        <p:grpSpPr bwMode="auto">
          <a:xfrm>
            <a:off x="1232893" y="1206700"/>
            <a:ext cx="1804988" cy="1803797"/>
            <a:chOff x="1642796" y="2615022"/>
            <a:chExt cx="2407382" cy="2405286"/>
          </a:xfrm>
          <a:solidFill>
            <a:schemeClr val="bg1"/>
          </a:solidFill>
        </p:grpSpPr>
        <p:sp>
          <p:nvSpPr>
            <p:cNvPr id="23" name="空心弧 3"/>
            <p:cNvSpPr>
              <a:spLocks/>
            </p:cNvSpPr>
            <p:nvPr/>
          </p:nvSpPr>
          <p:spPr bwMode="auto">
            <a:xfrm rot="-6297671">
              <a:off x="1643844" y="2613974"/>
              <a:ext cx="2405286" cy="2407382"/>
            </a:xfrm>
            <a:custGeom>
              <a:avLst/>
              <a:gdLst>
                <a:gd name="T0" fmla="*/ 294313 w 21600"/>
                <a:gd name="T1" fmla="*/ 859859 h 21600"/>
                <a:gd name="T2" fmla="*/ 1202532 w 21600"/>
                <a:gd name="T3" fmla="*/ 231822 h 21600"/>
                <a:gd name="T4" fmla="*/ 2110861 w 21600"/>
                <a:gd name="T5" fmla="*/ 859859 h 21600"/>
                <a:gd name="T6" fmla="*/ 2327448 w 21600"/>
                <a:gd name="T7" fmla="*/ 777830 h 21600"/>
                <a:gd name="T8" fmla="*/ 1202643 w 21600"/>
                <a:gd name="T9" fmla="*/ 0 h 21600"/>
                <a:gd name="T10" fmla="*/ 77726 w 21600"/>
                <a:gd name="T11" fmla="*/ 777830 h 21600"/>
                <a:gd name="T12" fmla="*/ 294313 w 21600"/>
                <a:gd name="T13" fmla="*/ 859859 h 216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600"/>
                <a:gd name="T22" fmla="*/ 0 h 21600"/>
                <a:gd name="T23" fmla="*/ 21600 w 21600"/>
                <a:gd name="T24" fmla="*/ 3969 h 216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600" h="21600">
                  <a:moveTo>
                    <a:pt x="2643" y="7715"/>
                  </a:moveTo>
                  <a:cubicBezTo>
                    <a:pt x="3926" y="4323"/>
                    <a:pt x="7173" y="2080"/>
                    <a:pt x="10799" y="2080"/>
                  </a:cubicBezTo>
                  <a:cubicBezTo>
                    <a:pt x="14426" y="2079"/>
                    <a:pt x="17673" y="4323"/>
                    <a:pt x="18956" y="7715"/>
                  </a:cubicBezTo>
                  <a:lnTo>
                    <a:pt x="20901" y="6979"/>
                  </a:lnTo>
                  <a:cubicBezTo>
                    <a:pt x="19313" y="2779"/>
                    <a:pt x="15290" y="0"/>
                    <a:pt x="10800" y="0"/>
                  </a:cubicBezTo>
                  <a:cubicBezTo>
                    <a:pt x="6309" y="-1"/>
                    <a:pt x="2286" y="2779"/>
                    <a:pt x="698" y="6979"/>
                  </a:cubicBezTo>
                  <a:lnTo>
                    <a:pt x="2643" y="77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zh-CN" altLang="en-US" sz="1069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空心弧 3"/>
            <p:cNvSpPr>
              <a:spLocks/>
            </p:cNvSpPr>
            <p:nvPr/>
          </p:nvSpPr>
          <p:spPr bwMode="auto">
            <a:xfrm rot="7872149">
              <a:off x="1643844" y="2613974"/>
              <a:ext cx="2405286" cy="2407382"/>
            </a:xfrm>
            <a:custGeom>
              <a:avLst/>
              <a:gdLst>
                <a:gd name="T0" fmla="*/ 294313 w 21600"/>
                <a:gd name="T1" fmla="*/ 859859 h 21600"/>
                <a:gd name="T2" fmla="*/ 1202532 w 21600"/>
                <a:gd name="T3" fmla="*/ 231822 h 21600"/>
                <a:gd name="T4" fmla="*/ 2110861 w 21600"/>
                <a:gd name="T5" fmla="*/ 859859 h 21600"/>
                <a:gd name="T6" fmla="*/ 2327448 w 21600"/>
                <a:gd name="T7" fmla="*/ 777830 h 21600"/>
                <a:gd name="T8" fmla="*/ 1202643 w 21600"/>
                <a:gd name="T9" fmla="*/ 0 h 21600"/>
                <a:gd name="T10" fmla="*/ 77726 w 21600"/>
                <a:gd name="T11" fmla="*/ 777830 h 21600"/>
                <a:gd name="T12" fmla="*/ 294313 w 21600"/>
                <a:gd name="T13" fmla="*/ 859859 h 2160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1600"/>
                <a:gd name="T22" fmla="*/ 0 h 21600"/>
                <a:gd name="T23" fmla="*/ 21600 w 21600"/>
                <a:gd name="T24" fmla="*/ 3969 h 2160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1600" h="21600">
                  <a:moveTo>
                    <a:pt x="2643" y="7715"/>
                  </a:moveTo>
                  <a:cubicBezTo>
                    <a:pt x="3926" y="4323"/>
                    <a:pt x="7173" y="2080"/>
                    <a:pt x="10799" y="2080"/>
                  </a:cubicBezTo>
                  <a:cubicBezTo>
                    <a:pt x="14426" y="2079"/>
                    <a:pt x="17673" y="4323"/>
                    <a:pt x="18956" y="7715"/>
                  </a:cubicBezTo>
                  <a:lnTo>
                    <a:pt x="20901" y="6979"/>
                  </a:lnTo>
                  <a:cubicBezTo>
                    <a:pt x="19313" y="2779"/>
                    <a:pt x="15290" y="0"/>
                    <a:pt x="10800" y="0"/>
                  </a:cubicBezTo>
                  <a:cubicBezTo>
                    <a:pt x="6309" y="-1"/>
                    <a:pt x="2286" y="2779"/>
                    <a:pt x="698" y="6979"/>
                  </a:cubicBezTo>
                  <a:lnTo>
                    <a:pt x="2643" y="771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endParaRPr lang="zh-CN" altLang="en-US" sz="1069">
                <a:solidFill>
                  <a:schemeClr val="accent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5" name="组合 24"/>
          <p:cNvGrpSpPr>
            <a:grpSpLocks/>
          </p:cNvGrpSpPr>
          <p:nvPr/>
        </p:nvGrpSpPr>
        <p:grpSpPr bwMode="auto">
          <a:xfrm>
            <a:off x="3113481" y="1209676"/>
            <a:ext cx="2282203" cy="1623373"/>
            <a:chOff x="4013317" y="2665635"/>
            <a:chExt cx="3060169" cy="1094174"/>
          </a:xfrm>
        </p:grpSpPr>
        <p:cxnSp>
          <p:nvCxnSpPr>
            <p:cNvPr id="26" name="直接连接符 25"/>
            <p:cNvCxnSpPr/>
            <p:nvPr/>
          </p:nvCxnSpPr>
          <p:spPr>
            <a:xfrm flipH="1">
              <a:off x="4151407" y="2665635"/>
              <a:ext cx="2922079" cy="241263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直接连接符 26"/>
            <p:cNvCxnSpPr/>
            <p:nvPr/>
          </p:nvCxnSpPr>
          <p:spPr>
            <a:xfrm flipH="1" flipV="1">
              <a:off x="4013317" y="3529894"/>
              <a:ext cx="2922078" cy="229915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直接连接符 27"/>
            <p:cNvCxnSpPr>
              <a:stCxn id="17" idx="1"/>
            </p:cNvCxnSpPr>
            <p:nvPr/>
          </p:nvCxnSpPr>
          <p:spPr>
            <a:xfrm flipH="1">
              <a:off x="4037072" y="3222940"/>
              <a:ext cx="2898323" cy="36957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文字方塊 3"/>
          <p:cNvSpPr txBox="1"/>
          <p:nvPr/>
        </p:nvSpPr>
        <p:spPr>
          <a:xfrm>
            <a:off x="3923928" y="3625006"/>
            <a:ext cx="439248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TW" dirty="0" smtClean="0"/>
              <a:t>Quiz: </a:t>
            </a:r>
            <a:r>
              <a:rPr lang="zh-TW" altLang="en-US" dirty="0" smtClean="0"/>
              <a:t>每週單字聽寫</a:t>
            </a:r>
            <a:endParaRPr lang="en-US" altLang="zh-TW" dirty="0" smtClean="0"/>
          </a:p>
          <a:p>
            <a:r>
              <a:rPr lang="zh-TW" altLang="en-US" dirty="0"/>
              <a:t> </a:t>
            </a:r>
            <a:r>
              <a:rPr lang="zh-TW" altLang="en-US" dirty="0" smtClean="0"/>
              <a:t>         每兩週聽力練習</a:t>
            </a:r>
            <a:endParaRPr lang="en-US" altLang="zh-TW" dirty="0" smtClean="0"/>
          </a:p>
          <a:p>
            <a:r>
              <a:rPr lang="zh-TW" altLang="en-US" dirty="0"/>
              <a:t> </a:t>
            </a:r>
            <a:r>
              <a:rPr lang="zh-TW" altLang="en-US" dirty="0" smtClean="0"/>
              <a:t>         每單元口說練習</a:t>
            </a:r>
            <a:endParaRPr lang="en-US" altLang="zh-TW" dirty="0" smtClean="0"/>
          </a:p>
          <a:p>
            <a:r>
              <a:rPr lang="zh-TW" altLang="en-US" dirty="0"/>
              <a:t> </a:t>
            </a:r>
            <a:r>
              <a:rPr lang="zh-TW" altLang="en-US" dirty="0" smtClean="0"/>
              <a:t> </a:t>
            </a:r>
            <a:endParaRPr lang="zh-TW" altLang="en-US" dirty="0"/>
          </a:p>
        </p:txBody>
      </p:sp>
    </p:spTree>
    <p:extLst>
      <p:ext uri="{BB962C8B-B14F-4D97-AF65-F5344CB8AC3E}">
        <p14:creationId xmlns:p14="http://schemas.microsoft.com/office/powerpoint/2010/main" val="10588932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000"/>
                            </p:stCondLst>
                            <p:childTnLst>
                              <p:par>
                                <p:cTn id="30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500"/>
                            </p:stCondLst>
                            <p:childTnLst>
                              <p:par>
                                <p:cTn id="3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000"/>
                            </p:stCondLst>
                            <p:childTnLst>
                              <p:par>
                                <p:cTn id="39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4500"/>
                            </p:stCondLst>
                            <p:childTnLst>
                              <p:par>
                                <p:cTn id="44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/>
      <p:bldP spid="14" grpId="0"/>
      <p:bldP spid="1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635" r="23201" b="71000"/>
          <a:stretch/>
        </p:blipFill>
        <p:spPr>
          <a:xfrm>
            <a:off x="3707904" y="864096"/>
            <a:ext cx="2664296" cy="1491630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2576" y="1531764"/>
            <a:ext cx="3840465" cy="3840465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72065" y="2775069"/>
            <a:ext cx="1936383" cy="1936383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2815056" y="2057566"/>
            <a:ext cx="4801314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03</a:t>
            </a:r>
            <a:r>
              <a:rPr lang="zh-TW" altLang="en-US" sz="6000" dirty="0" smtClean="0">
                <a:solidFill>
                  <a:srgbClr val="829662"/>
                </a:solidFill>
                <a:latin typeface="Ohka" panose="02000609000000000000" pitchFamily="49" charset="-128"/>
                <a:ea typeface="Ohka" panose="02000609000000000000" pitchFamily="49" charset="-128"/>
              </a:rPr>
              <a:t>親師生合作</a:t>
            </a:r>
            <a:endParaRPr lang="zh-CN" altLang="en-US" sz="6000" dirty="0">
              <a:solidFill>
                <a:srgbClr val="829662"/>
              </a:solidFill>
              <a:latin typeface="Ohka" panose="02000609000000000000" pitchFamily="49" charset="-128"/>
              <a:ea typeface="Ohka" panose="02000609000000000000" pitchFamily="49" charset="-128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5812" y="3264669"/>
            <a:ext cx="2451507" cy="2451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536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8"/>
          <p:cNvSpPr txBox="1">
            <a:spLocks/>
          </p:cNvSpPr>
          <p:nvPr/>
        </p:nvSpPr>
        <p:spPr>
          <a:xfrm>
            <a:off x="4932040" y="411510"/>
            <a:ext cx="3495354" cy="457200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TW" altLang="en-US" sz="28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親師生合作</a:t>
            </a:r>
            <a:endParaRPr lang="en-US" altLang="zh-CN" sz="28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Straight Connector 12"/>
          <p:cNvCxnSpPr/>
          <p:nvPr/>
        </p:nvCxnSpPr>
        <p:spPr>
          <a:xfrm>
            <a:off x="8456792" y="469156"/>
            <a:ext cx="0" cy="539496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" name="组合 7"/>
          <p:cNvGrpSpPr>
            <a:grpSpLocks noChangeAspect="1"/>
          </p:cNvGrpSpPr>
          <p:nvPr/>
        </p:nvGrpSpPr>
        <p:grpSpPr>
          <a:xfrm>
            <a:off x="1135050" y="1238853"/>
            <a:ext cx="3241903" cy="3904647"/>
            <a:chOff x="1141364" y="649312"/>
            <a:chExt cx="4276566" cy="5150844"/>
          </a:xfrm>
        </p:grpSpPr>
        <p:sp>
          <p:nvSpPr>
            <p:cNvPr id="9" name="任意多边形 8"/>
            <p:cNvSpPr/>
            <p:nvPr/>
          </p:nvSpPr>
          <p:spPr>
            <a:xfrm>
              <a:off x="1491356" y="1307806"/>
              <a:ext cx="3638574" cy="4492350"/>
            </a:xfrm>
            <a:custGeom>
              <a:avLst/>
              <a:gdLst>
                <a:gd name="connsiteX0" fmla="*/ 1743740 w 3742661"/>
                <a:gd name="connsiteY0" fmla="*/ 4476307 h 4476307"/>
                <a:gd name="connsiteX1" fmla="*/ 1796903 w 3742661"/>
                <a:gd name="connsiteY1" fmla="*/ 3785190 h 4476307"/>
                <a:gd name="connsiteX2" fmla="*/ 1307805 w 3742661"/>
                <a:gd name="connsiteY2" fmla="*/ 3381153 h 4476307"/>
                <a:gd name="connsiteX3" fmla="*/ 31898 w 3742661"/>
                <a:gd name="connsiteY3" fmla="*/ 2945218 h 4476307"/>
                <a:gd name="connsiteX4" fmla="*/ 1127052 w 3742661"/>
                <a:gd name="connsiteY4" fmla="*/ 3242930 h 4476307"/>
                <a:gd name="connsiteX5" fmla="*/ 393405 w 3742661"/>
                <a:gd name="connsiteY5" fmla="*/ 2456121 h 4476307"/>
                <a:gd name="connsiteX6" fmla="*/ 1775638 w 3742661"/>
                <a:gd name="connsiteY6" fmla="*/ 3519376 h 4476307"/>
                <a:gd name="connsiteX7" fmla="*/ 1679945 w 3742661"/>
                <a:gd name="connsiteY7" fmla="*/ 2392325 h 4476307"/>
                <a:gd name="connsiteX8" fmla="*/ 0 w 3742661"/>
                <a:gd name="connsiteY8" fmla="*/ 754911 h 4476307"/>
                <a:gd name="connsiteX9" fmla="*/ 988828 w 3742661"/>
                <a:gd name="connsiteY9" fmla="*/ 1924493 h 4476307"/>
                <a:gd name="connsiteX10" fmla="*/ 1137684 w 3742661"/>
                <a:gd name="connsiteY10" fmla="*/ 861237 h 4476307"/>
                <a:gd name="connsiteX11" fmla="*/ 1222745 w 3742661"/>
                <a:gd name="connsiteY11" fmla="*/ 2062716 h 4476307"/>
                <a:gd name="connsiteX12" fmla="*/ 1690577 w 3742661"/>
                <a:gd name="connsiteY12" fmla="*/ 2190307 h 4476307"/>
                <a:gd name="connsiteX13" fmla="*/ 1956391 w 3742661"/>
                <a:gd name="connsiteY13" fmla="*/ 0 h 4476307"/>
                <a:gd name="connsiteX14" fmla="*/ 2083982 w 3742661"/>
                <a:gd name="connsiteY14" fmla="*/ 978195 h 4476307"/>
                <a:gd name="connsiteX15" fmla="*/ 1881963 w 3742661"/>
                <a:gd name="connsiteY15" fmla="*/ 2232837 h 4476307"/>
                <a:gd name="connsiteX16" fmla="*/ 2041452 w 3742661"/>
                <a:gd name="connsiteY16" fmla="*/ 3030279 h 4476307"/>
                <a:gd name="connsiteX17" fmla="*/ 2647507 w 3742661"/>
                <a:gd name="connsiteY17" fmla="*/ 2519916 h 4476307"/>
                <a:gd name="connsiteX18" fmla="*/ 2849526 w 3742661"/>
                <a:gd name="connsiteY18" fmla="*/ 1307804 h 4476307"/>
                <a:gd name="connsiteX19" fmla="*/ 2838893 w 3742661"/>
                <a:gd name="connsiteY19" fmla="*/ 2371060 h 4476307"/>
                <a:gd name="connsiteX20" fmla="*/ 3742661 w 3742661"/>
                <a:gd name="connsiteY20" fmla="*/ 1148316 h 4476307"/>
                <a:gd name="connsiteX21" fmla="*/ 2222205 w 3742661"/>
                <a:gd name="connsiteY21" fmla="*/ 3370521 h 4476307"/>
                <a:gd name="connsiteX22" fmla="*/ 2169042 w 3742661"/>
                <a:gd name="connsiteY22" fmla="*/ 3817088 h 4476307"/>
                <a:gd name="connsiteX23" fmla="*/ 3317358 w 3742661"/>
                <a:gd name="connsiteY23" fmla="*/ 3094074 h 4476307"/>
                <a:gd name="connsiteX24" fmla="*/ 2190307 w 3742661"/>
                <a:gd name="connsiteY24" fmla="*/ 4051004 h 4476307"/>
                <a:gd name="connsiteX25" fmla="*/ 2232838 w 3742661"/>
                <a:gd name="connsiteY25" fmla="*/ 4476307 h 4476307"/>
                <a:gd name="connsiteX26" fmla="*/ 1743740 w 3742661"/>
                <a:gd name="connsiteY26" fmla="*/ 4476307 h 4476307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1743740 w 3742661"/>
                <a:gd name="connsiteY26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0307 w 3742661"/>
                <a:gd name="connsiteY24" fmla="*/ 4051004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41452 w 3742661"/>
                <a:gd name="connsiteY16" fmla="*/ 3030279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849526 w 3742661"/>
                <a:gd name="connsiteY18" fmla="*/ 1307804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38893 w 3742661"/>
                <a:gd name="connsiteY19" fmla="*/ 2371060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42661"/>
                <a:gd name="connsiteY0" fmla="*/ 4492350 h 4492350"/>
                <a:gd name="connsiteX1" fmla="*/ 1796903 w 3742661"/>
                <a:gd name="connsiteY1" fmla="*/ 3785190 h 4492350"/>
                <a:gd name="connsiteX2" fmla="*/ 1307805 w 3742661"/>
                <a:gd name="connsiteY2" fmla="*/ 3381153 h 4492350"/>
                <a:gd name="connsiteX3" fmla="*/ 31898 w 3742661"/>
                <a:gd name="connsiteY3" fmla="*/ 2945218 h 4492350"/>
                <a:gd name="connsiteX4" fmla="*/ 1127052 w 3742661"/>
                <a:gd name="connsiteY4" fmla="*/ 3242930 h 4492350"/>
                <a:gd name="connsiteX5" fmla="*/ 393405 w 3742661"/>
                <a:gd name="connsiteY5" fmla="*/ 2456121 h 4492350"/>
                <a:gd name="connsiteX6" fmla="*/ 1775638 w 3742661"/>
                <a:gd name="connsiteY6" fmla="*/ 3519376 h 4492350"/>
                <a:gd name="connsiteX7" fmla="*/ 1679945 w 3742661"/>
                <a:gd name="connsiteY7" fmla="*/ 2392325 h 4492350"/>
                <a:gd name="connsiteX8" fmla="*/ 0 w 3742661"/>
                <a:gd name="connsiteY8" fmla="*/ 754911 h 4492350"/>
                <a:gd name="connsiteX9" fmla="*/ 988828 w 3742661"/>
                <a:gd name="connsiteY9" fmla="*/ 1924493 h 4492350"/>
                <a:gd name="connsiteX10" fmla="*/ 1137684 w 3742661"/>
                <a:gd name="connsiteY10" fmla="*/ 861237 h 4492350"/>
                <a:gd name="connsiteX11" fmla="*/ 1222745 w 3742661"/>
                <a:gd name="connsiteY11" fmla="*/ 2062716 h 4492350"/>
                <a:gd name="connsiteX12" fmla="*/ 1690577 w 3742661"/>
                <a:gd name="connsiteY12" fmla="*/ 2190307 h 4492350"/>
                <a:gd name="connsiteX13" fmla="*/ 1956391 w 3742661"/>
                <a:gd name="connsiteY13" fmla="*/ 0 h 4492350"/>
                <a:gd name="connsiteX14" fmla="*/ 2083982 w 3742661"/>
                <a:gd name="connsiteY14" fmla="*/ 978195 h 4492350"/>
                <a:gd name="connsiteX15" fmla="*/ 1881963 w 3742661"/>
                <a:gd name="connsiteY15" fmla="*/ 2232837 h 4492350"/>
                <a:gd name="connsiteX16" fmla="*/ 2057494 w 3742661"/>
                <a:gd name="connsiteY16" fmla="*/ 3046321 h 4492350"/>
                <a:gd name="connsiteX17" fmla="*/ 2647507 w 3742661"/>
                <a:gd name="connsiteY17" fmla="*/ 2519916 h 4492350"/>
                <a:gd name="connsiteX18" fmla="*/ 2913694 w 3742661"/>
                <a:gd name="connsiteY18" fmla="*/ 1291762 h 4492350"/>
                <a:gd name="connsiteX19" fmla="*/ 2806809 w 3742661"/>
                <a:gd name="connsiteY19" fmla="*/ 2383091 h 4492350"/>
                <a:gd name="connsiteX20" fmla="*/ 3742661 w 3742661"/>
                <a:gd name="connsiteY20" fmla="*/ 1148316 h 4492350"/>
                <a:gd name="connsiteX21" fmla="*/ 2222205 w 3742661"/>
                <a:gd name="connsiteY21" fmla="*/ 3370521 h 4492350"/>
                <a:gd name="connsiteX22" fmla="*/ 2169042 w 3742661"/>
                <a:gd name="connsiteY22" fmla="*/ 3817088 h 4492350"/>
                <a:gd name="connsiteX23" fmla="*/ 3317358 w 3742661"/>
                <a:gd name="connsiteY23" fmla="*/ 3094074 h 4492350"/>
                <a:gd name="connsiteX24" fmla="*/ 2194317 w 3742661"/>
                <a:gd name="connsiteY24" fmla="*/ 4030951 h 4492350"/>
                <a:gd name="connsiteX25" fmla="*/ 2232838 w 3742661"/>
                <a:gd name="connsiteY25" fmla="*/ 4476307 h 4492350"/>
                <a:gd name="connsiteX26" fmla="*/ 2218194 w 3742661"/>
                <a:gd name="connsiteY26" fmla="*/ 4491415 h 4492350"/>
                <a:gd name="connsiteX27" fmla="*/ 1743740 w 3742661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718598"/>
                <a:gd name="connsiteY0" fmla="*/ 4492350 h 4492350"/>
                <a:gd name="connsiteX1" fmla="*/ 1796903 w 3718598"/>
                <a:gd name="connsiteY1" fmla="*/ 3785190 h 4492350"/>
                <a:gd name="connsiteX2" fmla="*/ 1307805 w 3718598"/>
                <a:gd name="connsiteY2" fmla="*/ 3381153 h 4492350"/>
                <a:gd name="connsiteX3" fmla="*/ 31898 w 3718598"/>
                <a:gd name="connsiteY3" fmla="*/ 2945218 h 4492350"/>
                <a:gd name="connsiteX4" fmla="*/ 1127052 w 3718598"/>
                <a:gd name="connsiteY4" fmla="*/ 3242930 h 4492350"/>
                <a:gd name="connsiteX5" fmla="*/ 393405 w 3718598"/>
                <a:gd name="connsiteY5" fmla="*/ 2456121 h 4492350"/>
                <a:gd name="connsiteX6" fmla="*/ 1775638 w 3718598"/>
                <a:gd name="connsiteY6" fmla="*/ 3519376 h 4492350"/>
                <a:gd name="connsiteX7" fmla="*/ 1679945 w 3718598"/>
                <a:gd name="connsiteY7" fmla="*/ 2392325 h 4492350"/>
                <a:gd name="connsiteX8" fmla="*/ 0 w 3718598"/>
                <a:gd name="connsiteY8" fmla="*/ 754911 h 4492350"/>
                <a:gd name="connsiteX9" fmla="*/ 988828 w 3718598"/>
                <a:gd name="connsiteY9" fmla="*/ 1924493 h 4492350"/>
                <a:gd name="connsiteX10" fmla="*/ 1137684 w 3718598"/>
                <a:gd name="connsiteY10" fmla="*/ 861237 h 4492350"/>
                <a:gd name="connsiteX11" fmla="*/ 1222745 w 3718598"/>
                <a:gd name="connsiteY11" fmla="*/ 2062716 h 4492350"/>
                <a:gd name="connsiteX12" fmla="*/ 1690577 w 3718598"/>
                <a:gd name="connsiteY12" fmla="*/ 2190307 h 4492350"/>
                <a:gd name="connsiteX13" fmla="*/ 1956391 w 3718598"/>
                <a:gd name="connsiteY13" fmla="*/ 0 h 4492350"/>
                <a:gd name="connsiteX14" fmla="*/ 2083982 w 3718598"/>
                <a:gd name="connsiteY14" fmla="*/ 978195 h 4492350"/>
                <a:gd name="connsiteX15" fmla="*/ 1881963 w 3718598"/>
                <a:gd name="connsiteY15" fmla="*/ 2232837 h 4492350"/>
                <a:gd name="connsiteX16" fmla="*/ 2057494 w 3718598"/>
                <a:gd name="connsiteY16" fmla="*/ 3046321 h 4492350"/>
                <a:gd name="connsiteX17" fmla="*/ 2647507 w 3718598"/>
                <a:gd name="connsiteY17" fmla="*/ 2519916 h 4492350"/>
                <a:gd name="connsiteX18" fmla="*/ 2913694 w 3718598"/>
                <a:gd name="connsiteY18" fmla="*/ 1291762 h 4492350"/>
                <a:gd name="connsiteX19" fmla="*/ 2806809 w 3718598"/>
                <a:gd name="connsiteY19" fmla="*/ 2383091 h 4492350"/>
                <a:gd name="connsiteX20" fmla="*/ 3718598 w 3718598"/>
                <a:gd name="connsiteY20" fmla="*/ 1120242 h 4492350"/>
                <a:gd name="connsiteX21" fmla="*/ 2222205 w 3718598"/>
                <a:gd name="connsiteY21" fmla="*/ 3370521 h 4492350"/>
                <a:gd name="connsiteX22" fmla="*/ 2169042 w 3718598"/>
                <a:gd name="connsiteY22" fmla="*/ 3817088 h 4492350"/>
                <a:gd name="connsiteX23" fmla="*/ 3317358 w 3718598"/>
                <a:gd name="connsiteY23" fmla="*/ 3094074 h 4492350"/>
                <a:gd name="connsiteX24" fmla="*/ 2194317 w 3718598"/>
                <a:gd name="connsiteY24" fmla="*/ 4030951 h 4492350"/>
                <a:gd name="connsiteX25" fmla="*/ 2232838 w 3718598"/>
                <a:gd name="connsiteY25" fmla="*/ 4476307 h 4492350"/>
                <a:gd name="connsiteX26" fmla="*/ 2218194 w 3718598"/>
                <a:gd name="connsiteY26" fmla="*/ 4491415 h 4492350"/>
                <a:gd name="connsiteX27" fmla="*/ 1743740 w 3718598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83982 w 3694535"/>
                <a:gd name="connsiteY14" fmla="*/ 978195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232837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3651 h 4523651"/>
                <a:gd name="connsiteX1" fmla="*/ 1796903 w 3694535"/>
                <a:gd name="connsiteY1" fmla="*/ 3816491 h 4523651"/>
                <a:gd name="connsiteX2" fmla="*/ 1307805 w 3694535"/>
                <a:gd name="connsiteY2" fmla="*/ 3412454 h 4523651"/>
                <a:gd name="connsiteX3" fmla="*/ 31898 w 3694535"/>
                <a:gd name="connsiteY3" fmla="*/ 2976519 h 4523651"/>
                <a:gd name="connsiteX4" fmla="*/ 1127052 w 3694535"/>
                <a:gd name="connsiteY4" fmla="*/ 3274231 h 4523651"/>
                <a:gd name="connsiteX5" fmla="*/ 393405 w 3694535"/>
                <a:gd name="connsiteY5" fmla="*/ 2487422 h 4523651"/>
                <a:gd name="connsiteX6" fmla="*/ 1775638 w 3694535"/>
                <a:gd name="connsiteY6" fmla="*/ 3550677 h 4523651"/>
                <a:gd name="connsiteX7" fmla="*/ 1679945 w 3694535"/>
                <a:gd name="connsiteY7" fmla="*/ 2423626 h 4523651"/>
                <a:gd name="connsiteX8" fmla="*/ 0 w 3694535"/>
                <a:gd name="connsiteY8" fmla="*/ 786212 h 4523651"/>
                <a:gd name="connsiteX9" fmla="*/ 988828 w 3694535"/>
                <a:gd name="connsiteY9" fmla="*/ 1955794 h 4523651"/>
                <a:gd name="connsiteX10" fmla="*/ 1137684 w 3694535"/>
                <a:gd name="connsiteY10" fmla="*/ 892538 h 4523651"/>
                <a:gd name="connsiteX11" fmla="*/ 1222745 w 3694535"/>
                <a:gd name="connsiteY11" fmla="*/ 2094017 h 4523651"/>
                <a:gd name="connsiteX12" fmla="*/ 1690577 w 3694535"/>
                <a:gd name="connsiteY12" fmla="*/ 2221608 h 4523651"/>
                <a:gd name="connsiteX13" fmla="*/ 1956391 w 3694535"/>
                <a:gd name="connsiteY13" fmla="*/ 31301 h 4523651"/>
                <a:gd name="connsiteX14" fmla="*/ 2027834 w 3694535"/>
                <a:gd name="connsiteY14" fmla="*/ 1017517 h 4523651"/>
                <a:gd name="connsiteX15" fmla="*/ 1881963 w 3694535"/>
                <a:gd name="connsiteY15" fmla="*/ 2264138 h 4523651"/>
                <a:gd name="connsiteX16" fmla="*/ 2057494 w 3694535"/>
                <a:gd name="connsiteY16" fmla="*/ 3077622 h 4523651"/>
                <a:gd name="connsiteX17" fmla="*/ 2647507 w 3694535"/>
                <a:gd name="connsiteY17" fmla="*/ 2551217 h 4523651"/>
                <a:gd name="connsiteX18" fmla="*/ 2913694 w 3694535"/>
                <a:gd name="connsiteY18" fmla="*/ 1323063 h 4523651"/>
                <a:gd name="connsiteX19" fmla="*/ 2806809 w 3694535"/>
                <a:gd name="connsiteY19" fmla="*/ 2414392 h 4523651"/>
                <a:gd name="connsiteX20" fmla="*/ 3694535 w 3694535"/>
                <a:gd name="connsiteY20" fmla="*/ 1155553 h 4523651"/>
                <a:gd name="connsiteX21" fmla="*/ 2222205 w 3694535"/>
                <a:gd name="connsiteY21" fmla="*/ 3401822 h 4523651"/>
                <a:gd name="connsiteX22" fmla="*/ 2169042 w 3694535"/>
                <a:gd name="connsiteY22" fmla="*/ 3848389 h 4523651"/>
                <a:gd name="connsiteX23" fmla="*/ 3317358 w 3694535"/>
                <a:gd name="connsiteY23" fmla="*/ 3125375 h 4523651"/>
                <a:gd name="connsiteX24" fmla="*/ 2194317 w 3694535"/>
                <a:gd name="connsiteY24" fmla="*/ 4062252 h 4523651"/>
                <a:gd name="connsiteX25" fmla="*/ 2232838 w 3694535"/>
                <a:gd name="connsiteY25" fmla="*/ 4507608 h 4523651"/>
                <a:gd name="connsiteX26" fmla="*/ 2218194 w 3694535"/>
                <a:gd name="connsiteY26" fmla="*/ 4522716 h 4523651"/>
                <a:gd name="connsiteX27" fmla="*/ 1743740 w 3694535"/>
                <a:gd name="connsiteY27" fmla="*/ 4523651 h 4523651"/>
                <a:gd name="connsiteX0" fmla="*/ 1743740 w 3694535"/>
                <a:gd name="connsiteY0" fmla="*/ 4522819 h 4522819"/>
                <a:gd name="connsiteX1" fmla="*/ 1796903 w 3694535"/>
                <a:gd name="connsiteY1" fmla="*/ 3815659 h 4522819"/>
                <a:gd name="connsiteX2" fmla="*/ 1307805 w 3694535"/>
                <a:gd name="connsiteY2" fmla="*/ 3411622 h 4522819"/>
                <a:gd name="connsiteX3" fmla="*/ 31898 w 3694535"/>
                <a:gd name="connsiteY3" fmla="*/ 2975687 h 4522819"/>
                <a:gd name="connsiteX4" fmla="*/ 1127052 w 3694535"/>
                <a:gd name="connsiteY4" fmla="*/ 3273399 h 4522819"/>
                <a:gd name="connsiteX5" fmla="*/ 393405 w 3694535"/>
                <a:gd name="connsiteY5" fmla="*/ 2486590 h 4522819"/>
                <a:gd name="connsiteX6" fmla="*/ 1775638 w 3694535"/>
                <a:gd name="connsiteY6" fmla="*/ 3549845 h 4522819"/>
                <a:gd name="connsiteX7" fmla="*/ 1679945 w 3694535"/>
                <a:gd name="connsiteY7" fmla="*/ 2422794 h 4522819"/>
                <a:gd name="connsiteX8" fmla="*/ 0 w 3694535"/>
                <a:gd name="connsiteY8" fmla="*/ 785380 h 4522819"/>
                <a:gd name="connsiteX9" fmla="*/ 988828 w 3694535"/>
                <a:gd name="connsiteY9" fmla="*/ 1954962 h 4522819"/>
                <a:gd name="connsiteX10" fmla="*/ 1137684 w 3694535"/>
                <a:gd name="connsiteY10" fmla="*/ 891706 h 4522819"/>
                <a:gd name="connsiteX11" fmla="*/ 1222745 w 3694535"/>
                <a:gd name="connsiteY11" fmla="*/ 2093185 h 4522819"/>
                <a:gd name="connsiteX12" fmla="*/ 1690577 w 3694535"/>
                <a:gd name="connsiteY12" fmla="*/ 2220776 h 4522819"/>
                <a:gd name="connsiteX13" fmla="*/ 1956391 w 3694535"/>
                <a:gd name="connsiteY13" fmla="*/ 30469 h 4522819"/>
                <a:gd name="connsiteX14" fmla="*/ 2027834 w 3694535"/>
                <a:gd name="connsiteY14" fmla="*/ 1016685 h 4522819"/>
                <a:gd name="connsiteX15" fmla="*/ 1881963 w 3694535"/>
                <a:gd name="connsiteY15" fmla="*/ 2090854 h 4522819"/>
                <a:gd name="connsiteX16" fmla="*/ 2057494 w 3694535"/>
                <a:gd name="connsiteY16" fmla="*/ 3076790 h 4522819"/>
                <a:gd name="connsiteX17" fmla="*/ 2647507 w 3694535"/>
                <a:gd name="connsiteY17" fmla="*/ 2550385 h 4522819"/>
                <a:gd name="connsiteX18" fmla="*/ 2913694 w 3694535"/>
                <a:gd name="connsiteY18" fmla="*/ 1322231 h 4522819"/>
                <a:gd name="connsiteX19" fmla="*/ 2806809 w 3694535"/>
                <a:gd name="connsiteY19" fmla="*/ 2413560 h 4522819"/>
                <a:gd name="connsiteX20" fmla="*/ 3694535 w 3694535"/>
                <a:gd name="connsiteY20" fmla="*/ 1154721 h 4522819"/>
                <a:gd name="connsiteX21" fmla="*/ 2222205 w 3694535"/>
                <a:gd name="connsiteY21" fmla="*/ 3400990 h 4522819"/>
                <a:gd name="connsiteX22" fmla="*/ 2169042 w 3694535"/>
                <a:gd name="connsiteY22" fmla="*/ 3847557 h 4522819"/>
                <a:gd name="connsiteX23" fmla="*/ 3317358 w 3694535"/>
                <a:gd name="connsiteY23" fmla="*/ 3124543 h 4522819"/>
                <a:gd name="connsiteX24" fmla="*/ 2194317 w 3694535"/>
                <a:gd name="connsiteY24" fmla="*/ 4061420 h 4522819"/>
                <a:gd name="connsiteX25" fmla="*/ 2232838 w 3694535"/>
                <a:gd name="connsiteY25" fmla="*/ 4506776 h 4522819"/>
                <a:gd name="connsiteX26" fmla="*/ 2218194 w 3694535"/>
                <a:gd name="connsiteY26" fmla="*/ 4521884 h 4522819"/>
                <a:gd name="connsiteX27" fmla="*/ 1743740 w 3694535"/>
                <a:gd name="connsiteY27" fmla="*/ 4522819 h 4522819"/>
                <a:gd name="connsiteX0" fmla="*/ 1743740 w 3694535"/>
                <a:gd name="connsiteY0" fmla="*/ 4522819 h 4522819"/>
                <a:gd name="connsiteX1" fmla="*/ 1796903 w 3694535"/>
                <a:gd name="connsiteY1" fmla="*/ 3815659 h 4522819"/>
                <a:gd name="connsiteX2" fmla="*/ 1307805 w 3694535"/>
                <a:gd name="connsiteY2" fmla="*/ 3411622 h 4522819"/>
                <a:gd name="connsiteX3" fmla="*/ 31898 w 3694535"/>
                <a:gd name="connsiteY3" fmla="*/ 2975687 h 4522819"/>
                <a:gd name="connsiteX4" fmla="*/ 1127052 w 3694535"/>
                <a:gd name="connsiteY4" fmla="*/ 3273399 h 4522819"/>
                <a:gd name="connsiteX5" fmla="*/ 393405 w 3694535"/>
                <a:gd name="connsiteY5" fmla="*/ 2486590 h 4522819"/>
                <a:gd name="connsiteX6" fmla="*/ 1775638 w 3694535"/>
                <a:gd name="connsiteY6" fmla="*/ 3549845 h 4522819"/>
                <a:gd name="connsiteX7" fmla="*/ 1679945 w 3694535"/>
                <a:gd name="connsiteY7" fmla="*/ 2422794 h 4522819"/>
                <a:gd name="connsiteX8" fmla="*/ 0 w 3694535"/>
                <a:gd name="connsiteY8" fmla="*/ 785380 h 4522819"/>
                <a:gd name="connsiteX9" fmla="*/ 988828 w 3694535"/>
                <a:gd name="connsiteY9" fmla="*/ 1954962 h 4522819"/>
                <a:gd name="connsiteX10" fmla="*/ 1137684 w 3694535"/>
                <a:gd name="connsiteY10" fmla="*/ 891706 h 4522819"/>
                <a:gd name="connsiteX11" fmla="*/ 1222745 w 3694535"/>
                <a:gd name="connsiteY11" fmla="*/ 2093185 h 4522819"/>
                <a:gd name="connsiteX12" fmla="*/ 1690577 w 3694535"/>
                <a:gd name="connsiteY12" fmla="*/ 2220776 h 4522819"/>
                <a:gd name="connsiteX13" fmla="*/ 1956391 w 3694535"/>
                <a:gd name="connsiteY13" fmla="*/ 30469 h 4522819"/>
                <a:gd name="connsiteX14" fmla="*/ 2027834 w 3694535"/>
                <a:gd name="connsiteY14" fmla="*/ 1016685 h 4522819"/>
                <a:gd name="connsiteX15" fmla="*/ 1881963 w 3694535"/>
                <a:gd name="connsiteY15" fmla="*/ 2090854 h 4522819"/>
                <a:gd name="connsiteX16" fmla="*/ 2057494 w 3694535"/>
                <a:gd name="connsiteY16" fmla="*/ 3076790 h 4522819"/>
                <a:gd name="connsiteX17" fmla="*/ 2647507 w 3694535"/>
                <a:gd name="connsiteY17" fmla="*/ 2550385 h 4522819"/>
                <a:gd name="connsiteX18" fmla="*/ 2913694 w 3694535"/>
                <a:gd name="connsiteY18" fmla="*/ 1322231 h 4522819"/>
                <a:gd name="connsiteX19" fmla="*/ 2806809 w 3694535"/>
                <a:gd name="connsiteY19" fmla="*/ 2413560 h 4522819"/>
                <a:gd name="connsiteX20" fmla="*/ 3694535 w 3694535"/>
                <a:gd name="connsiteY20" fmla="*/ 1154721 h 4522819"/>
                <a:gd name="connsiteX21" fmla="*/ 2222205 w 3694535"/>
                <a:gd name="connsiteY21" fmla="*/ 3400990 h 4522819"/>
                <a:gd name="connsiteX22" fmla="*/ 2169042 w 3694535"/>
                <a:gd name="connsiteY22" fmla="*/ 3847557 h 4522819"/>
                <a:gd name="connsiteX23" fmla="*/ 3317358 w 3694535"/>
                <a:gd name="connsiteY23" fmla="*/ 3124543 h 4522819"/>
                <a:gd name="connsiteX24" fmla="*/ 2194317 w 3694535"/>
                <a:gd name="connsiteY24" fmla="*/ 4061420 h 4522819"/>
                <a:gd name="connsiteX25" fmla="*/ 2232838 w 3694535"/>
                <a:gd name="connsiteY25" fmla="*/ 4506776 h 4522819"/>
                <a:gd name="connsiteX26" fmla="*/ 2218194 w 3694535"/>
                <a:gd name="connsiteY26" fmla="*/ 4521884 h 4522819"/>
                <a:gd name="connsiteX27" fmla="*/ 1743740 w 3694535"/>
                <a:gd name="connsiteY27" fmla="*/ 4522819 h 4522819"/>
                <a:gd name="connsiteX0" fmla="*/ 1743740 w 3694535"/>
                <a:gd name="connsiteY0" fmla="*/ 4522814 h 4522814"/>
                <a:gd name="connsiteX1" fmla="*/ 1796903 w 3694535"/>
                <a:gd name="connsiteY1" fmla="*/ 3815654 h 4522814"/>
                <a:gd name="connsiteX2" fmla="*/ 1307805 w 3694535"/>
                <a:gd name="connsiteY2" fmla="*/ 3411617 h 4522814"/>
                <a:gd name="connsiteX3" fmla="*/ 31898 w 3694535"/>
                <a:gd name="connsiteY3" fmla="*/ 2975682 h 4522814"/>
                <a:gd name="connsiteX4" fmla="*/ 1127052 w 3694535"/>
                <a:gd name="connsiteY4" fmla="*/ 3273394 h 4522814"/>
                <a:gd name="connsiteX5" fmla="*/ 393405 w 3694535"/>
                <a:gd name="connsiteY5" fmla="*/ 2486585 h 4522814"/>
                <a:gd name="connsiteX6" fmla="*/ 1775638 w 3694535"/>
                <a:gd name="connsiteY6" fmla="*/ 3549840 h 4522814"/>
                <a:gd name="connsiteX7" fmla="*/ 1679945 w 3694535"/>
                <a:gd name="connsiteY7" fmla="*/ 2422789 h 4522814"/>
                <a:gd name="connsiteX8" fmla="*/ 0 w 3694535"/>
                <a:gd name="connsiteY8" fmla="*/ 785375 h 4522814"/>
                <a:gd name="connsiteX9" fmla="*/ 988828 w 3694535"/>
                <a:gd name="connsiteY9" fmla="*/ 1954957 h 4522814"/>
                <a:gd name="connsiteX10" fmla="*/ 1137684 w 3694535"/>
                <a:gd name="connsiteY10" fmla="*/ 891701 h 4522814"/>
                <a:gd name="connsiteX11" fmla="*/ 1222745 w 3694535"/>
                <a:gd name="connsiteY11" fmla="*/ 2093180 h 4522814"/>
                <a:gd name="connsiteX12" fmla="*/ 1690577 w 3694535"/>
                <a:gd name="connsiteY12" fmla="*/ 2220771 h 4522814"/>
                <a:gd name="connsiteX13" fmla="*/ 1956391 w 3694535"/>
                <a:gd name="connsiteY13" fmla="*/ 30464 h 4522814"/>
                <a:gd name="connsiteX14" fmla="*/ 2027834 w 3694535"/>
                <a:gd name="connsiteY14" fmla="*/ 1016680 h 4522814"/>
                <a:gd name="connsiteX15" fmla="*/ 1881963 w 3694535"/>
                <a:gd name="connsiteY15" fmla="*/ 2090849 h 4522814"/>
                <a:gd name="connsiteX16" fmla="*/ 2057494 w 3694535"/>
                <a:gd name="connsiteY16" fmla="*/ 3076785 h 4522814"/>
                <a:gd name="connsiteX17" fmla="*/ 2647507 w 3694535"/>
                <a:gd name="connsiteY17" fmla="*/ 2550380 h 4522814"/>
                <a:gd name="connsiteX18" fmla="*/ 2913694 w 3694535"/>
                <a:gd name="connsiteY18" fmla="*/ 1322226 h 4522814"/>
                <a:gd name="connsiteX19" fmla="*/ 2806809 w 3694535"/>
                <a:gd name="connsiteY19" fmla="*/ 2413555 h 4522814"/>
                <a:gd name="connsiteX20" fmla="*/ 3694535 w 3694535"/>
                <a:gd name="connsiteY20" fmla="*/ 1154716 h 4522814"/>
                <a:gd name="connsiteX21" fmla="*/ 2222205 w 3694535"/>
                <a:gd name="connsiteY21" fmla="*/ 3400985 h 4522814"/>
                <a:gd name="connsiteX22" fmla="*/ 2169042 w 3694535"/>
                <a:gd name="connsiteY22" fmla="*/ 3847552 h 4522814"/>
                <a:gd name="connsiteX23" fmla="*/ 3317358 w 3694535"/>
                <a:gd name="connsiteY23" fmla="*/ 3124538 h 4522814"/>
                <a:gd name="connsiteX24" fmla="*/ 2194317 w 3694535"/>
                <a:gd name="connsiteY24" fmla="*/ 4061415 h 4522814"/>
                <a:gd name="connsiteX25" fmla="*/ 2232838 w 3694535"/>
                <a:gd name="connsiteY25" fmla="*/ 4506771 h 4522814"/>
                <a:gd name="connsiteX26" fmla="*/ 2218194 w 3694535"/>
                <a:gd name="connsiteY26" fmla="*/ 4521879 h 4522814"/>
                <a:gd name="connsiteX27" fmla="*/ 1743740 w 3694535"/>
                <a:gd name="connsiteY27" fmla="*/ 4522814 h 4522814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79945 w 3694535"/>
                <a:gd name="connsiteY7" fmla="*/ 2392325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690577 w 3694535"/>
                <a:gd name="connsiteY12" fmla="*/ 2190307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222745 w 3694535"/>
                <a:gd name="connsiteY11" fmla="*/ 2062716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37684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13621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13621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113621 w 3694535"/>
                <a:gd name="connsiteY10" fmla="*/ 861237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093568 w 3694535"/>
                <a:gd name="connsiteY10" fmla="*/ 857226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43740 w 3694535"/>
                <a:gd name="connsiteY0" fmla="*/ 4492350 h 4492350"/>
                <a:gd name="connsiteX1" fmla="*/ 1796903 w 3694535"/>
                <a:gd name="connsiteY1" fmla="*/ 3785190 h 4492350"/>
                <a:gd name="connsiteX2" fmla="*/ 1307805 w 3694535"/>
                <a:gd name="connsiteY2" fmla="*/ 3381153 h 4492350"/>
                <a:gd name="connsiteX3" fmla="*/ 31898 w 3694535"/>
                <a:gd name="connsiteY3" fmla="*/ 2945218 h 4492350"/>
                <a:gd name="connsiteX4" fmla="*/ 1127052 w 3694535"/>
                <a:gd name="connsiteY4" fmla="*/ 3242930 h 4492350"/>
                <a:gd name="connsiteX5" fmla="*/ 393405 w 3694535"/>
                <a:gd name="connsiteY5" fmla="*/ 2456121 h 4492350"/>
                <a:gd name="connsiteX6" fmla="*/ 1775638 w 3694535"/>
                <a:gd name="connsiteY6" fmla="*/ 3519376 h 4492350"/>
                <a:gd name="connsiteX7" fmla="*/ 1683956 w 3694535"/>
                <a:gd name="connsiteY7" fmla="*/ 2424409 h 4492350"/>
                <a:gd name="connsiteX8" fmla="*/ 0 w 3694535"/>
                <a:gd name="connsiteY8" fmla="*/ 754911 h 4492350"/>
                <a:gd name="connsiteX9" fmla="*/ 988828 w 3694535"/>
                <a:gd name="connsiteY9" fmla="*/ 1924493 h 4492350"/>
                <a:gd name="connsiteX10" fmla="*/ 1093568 w 3694535"/>
                <a:gd name="connsiteY10" fmla="*/ 857226 h 4492350"/>
                <a:gd name="connsiteX11" fmla="*/ 1194671 w 3694535"/>
                <a:gd name="connsiteY11" fmla="*/ 2026621 h 4492350"/>
                <a:gd name="connsiteX12" fmla="*/ 1714640 w 3694535"/>
                <a:gd name="connsiteY12" fmla="*/ 2194318 h 4492350"/>
                <a:gd name="connsiteX13" fmla="*/ 1956391 w 3694535"/>
                <a:gd name="connsiteY13" fmla="*/ 0 h 4492350"/>
                <a:gd name="connsiteX14" fmla="*/ 2027834 w 3694535"/>
                <a:gd name="connsiteY14" fmla="*/ 986216 h 4492350"/>
                <a:gd name="connsiteX15" fmla="*/ 1881963 w 3694535"/>
                <a:gd name="connsiteY15" fmla="*/ 2060385 h 4492350"/>
                <a:gd name="connsiteX16" fmla="*/ 2057494 w 3694535"/>
                <a:gd name="connsiteY16" fmla="*/ 3046321 h 4492350"/>
                <a:gd name="connsiteX17" fmla="*/ 2647507 w 3694535"/>
                <a:gd name="connsiteY17" fmla="*/ 2519916 h 4492350"/>
                <a:gd name="connsiteX18" fmla="*/ 2913694 w 3694535"/>
                <a:gd name="connsiteY18" fmla="*/ 1291762 h 4492350"/>
                <a:gd name="connsiteX19" fmla="*/ 2806809 w 3694535"/>
                <a:gd name="connsiteY19" fmla="*/ 2383091 h 4492350"/>
                <a:gd name="connsiteX20" fmla="*/ 3694535 w 3694535"/>
                <a:gd name="connsiteY20" fmla="*/ 1124252 h 4492350"/>
                <a:gd name="connsiteX21" fmla="*/ 2222205 w 3694535"/>
                <a:gd name="connsiteY21" fmla="*/ 3370521 h 4492350"/>
                <a:gd name="connsiteX22" fmla="*/ 2169042 w 3694535"/>
                <a:gd name="connsiteY22" fmla="*/ 3817088 h 4492350"/>
                <a:gd name="connsiteX23" fmla="*/ 3317358 w 3694535"/>
                <a:gd name="connsiteY23" fmla="*/ 3094074 h 4492350"/>
                <a:gd name="connsiteX24" fmla="*/ 2194317 w 3694535"/>
                <a:gd name="connsiteY24" fmla="*/ 4030951 h 4492350"/>
                <a:gd name="connsiteX25" fmla="*/ 2232838 w 3694535"/>
                <a:gd name="connsiteY25" fmla="*/ 4476307 h 4492350"/>
                <a:gd name="connsiteX26" fmla="*/ 2218194 w 3694535"/>
                <a:gd name="connsiteY26" fmla="*/ 4491415 h 4492350"/>
                <a:gd name="connsiteX27" fmla="*/ 1743740 w 3694535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24409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24409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24409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24409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8208 w 3662637"/>
                <a:gd name="connsiteY8" fmla="*/ 750901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61507 w 3662637"/>
                <a:gd name="connsiteY5" fmla="*/ 2456121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095154 w 3662637"/>
                <a:gd name="connsiteY4" fmla="*/ 324293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711842 w 3662637"/>
                <a:gd name="connsiteY0" fmla="*/ 4492350 h 4492350"/>
                <a:gd name="connsiteX1" fmla="*/ 1765005 w 3662637"/>
                <a:gd name="connsiteY1" fmla="*/ 3785190 h 4492350"/>
                <a:gd name="connsiteX2" fmla="*/ 1275907 w 3662637"/>
                <a:gd name="connsiteY2" fmla="*/ 3381153 h 4492350"/>
                <a:gd name="connsiteX3" fmla="*/ 0 w 3662637"/>
                <a:gd name="connsiteY3" fmla="*/ 2945218 h 4492350"/>
                <a:gd name="connsiteX4" fmla="*/ 1111196 w 3662637"/>
                <a:gd name="connsiteY4" fmla="*/ 3238920 h 4492350"/>
                <a:gd name="connsiteX5" fmla="*/ 381560 w 3662637"/>
                <a:gd name="connsiteY5" fmla="*/ 2432058 h 4492350"/>
                <a:gd name="connsiteX6" fmla="*/ 1743740 w 3662637"/>
                <a:gd name="connsiteY6" fmla="*/ 3519376 h 4492350"/>
                <a:gd name="connsiteX7" fmla="*/ 1652058 w 3662637"/>
                <a:gd name="connsiteY7" fmla="*/ 2400346 h 4492350"/>
                <a:gd name="connsiteX8" fmla="*/ 28261 w 3662637"/>
                <a:gd name="connsiteY8" fmla="*/ 742880 h 4492350"/>
                <a:gd name="connsiteX9" fmla="*/ 956930 w 3662637"/>
                <a:gd name="connsiteY9" fmla="*/ 1924493 h 4492350"/>
                <a:gd name="connsiteX10" fmla="*/ 1061670 w 3662637"/>
                <a:gd name="connsiteY10" fmla="*/ 857226 h 4492350"/>
                <a:gd name="connsiteX11" fmla="*/ 1162773 w 3662637"/>
                <a:gd name="connsiteY11" fmla="*/ 2026621 h 4492350"/>
                <a:gd name="connsiteX12" fmla="*/ 1682742 w 3662637"/>
                <a:gd name="connsiteY12" fmla="*/ 2194318 h 4492350"/>
                <a:gd name="connsiteX13" fmla="*/ 1924493 w 3662637"/>
                <a:gd name="connsiteY13" fmla="*/ 0 h 4492350"/>
                <a:gd name="connsiteX14" fmla="*/ 1995936 w 3662637"/>
                <a:gd name="connsiteY14" fmla="*/ 986216 h 4492350"/>
                <a:gd name="connsiteX15" fmla="*/ 1850065 w 3662637"/>
                <a:gd name="connsiteY15" fmla="*/ 2060385 h 4492350"/>
                <a:gd name="connsiteX16" fmla="*/ 2025596 w 3662637"/>
                <a:gd name="connsiteY16" fmla="*/ 3046321 h 4492350"/>
                <a:gd name="connsiteX17" fmla="*/ 2615609 w 3662637"/>
                <a:gd name="connsiteY17" fmla="*/ 2519916 h 4492350"/>
                <a:gd name="connsiteX18" fmla="*/ 2881796 w 3662637"/>
                <a:gd name="connsiteY18" fmla="*/ 1291762 h 4492350"/>
                <a:gd name="connsiteX19" fmla="*/ 2774911 w 3662637"/>
                <a:gd name="connsiteY19" fmla="*/ 2383091 h 4492350"/>
                <a:gd name="connsiteX20" fmla="*/ 3662637 w 3662637"/>
                <a:gd name="connsiteY20" fmla="*/ 1124252 h 4492350"/>
                <a:gd name="connsiteX21" fmla="*/ 2190307 w 3662637"/>
                <a:gd name="connsiteY21" fmla="*/ 3370521 h 4492350"/>
                <a:gd name="connsiteX22" fmla="*/ 2137144 w 3662637"/>
                <a:gd name="connsiteY22" fmla="*/ 3817088 h 4492350"/>
                <a:gd name="connsiteX23" fmla="*/ 3285460 w 3662637"/>
                <a:gd name="connsiteY23" fmla="*/ 3094074 h 4492350"/>
                <a:gd name="connsiteX24" fmla="*/ 2162419 w 3662637"/>
                <a:gd name="connsiteY24" fmla="*/ 4030951 h 4492350"/>
                <a:gd name="connsiteX25" fmla="*/ 2200940 w 3662637"/>
                <a:gd name="connsiteY25" fmla="*/ 4476307 h 4492350"/>
                <a:gd name="connsiteX26" fmla="*/ 2186296 w 3662637"/>
                <a:gd name="connsiteY26" fmla="*/ 4491415 h 4492350"/>
                <a:gd name="connsiteX27" fmla="*/ 1711842 w 3662637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51844 w 3638574"/>
                <a:gd name="connsiteY2" fmla="*/ 3381153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51844 w 3638574"/>
                <a:gd name="connsiteY2" fmla="*/ 3381153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51844 w 3638574"/>
                <a:gd name="connsiteY2" fmla="*/ 3381153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57497 w 3638574"/>
                <a:gd name="connsiteY5" fmla="*/ 2432058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65518 w 3638574"/>
                <a:gd name="connsiteY5" fmla="*/ 2420026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58679 w 3638574"/>
                <a:gd name="connsiteY12" fmla="*/ 2194318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40942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46038 w 3638574"/>
                <a:gd name="connsiteY12" fmla="*/ 2198532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19873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46038 w 3638574"/>
                <a:gd name="connsiteY12" fmla="*/ 2198532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03018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46038 w 3638574"/>
                <a:gd name="connsiteY12" fmla="*/ 2198532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13081 w 3638574"/>
                <a:gd name="connsiteY22" fmla="*/ 3817088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  <a:gd name="connsiteX0" fmla="*/ 1687779 w 3638574"/>
                <a:gd name="connsiteY0" fmla="*/ 4492350 h 4492350"/>
                <a:gd name="connsiteX1" fmla="*/ 1703018 w 3638574"/>
                <a:gd name="connsiteY1" fmla="*/ 3785190 h 4492350"/>
                <a:gd name="connsiteX2" fmla="*/ 1239812 w 3638574"/>
                <a:gd name="connsiteY2" fmla="*/ 3369121 h 4492350"/>
                <a:gd name="connsiteX3" fmla="*/ 0 w 3638574"/>
                <a:gd name="connsiteY3" fmla="*/ 2917145 h 4492350"/>
                <a:gd name="connsiteX4" fmla="*/ 1087133 w 3638574"/>
                <a:gd name="connsiteY4" fmla="*/ 3238920 h 4492350"/>
                <a:gd name="connsiteX5" fmla="*/ 389581 w 3638574"/>
                <a:gd name="connsiteY5" fmla="*/ 2412005 h 4492350"/>
                <a:gd name="connsiteX6" fmla="*/ 1719677 w 3638574"/>
                <a:gd name="connsiteY6" fmla="*/ 3519376 h 4492350"/>
                <a:gd name="connsiteX7" fmla="*/ 1627995 w 3638574"/>
                <a:gd name="connsiteY7" fmla="*/ 2400346 h 4492350"/>
                <a:gd name="connsiteX8" fmla="*/ 4198 w 3638574"/>
                <a:gd name="connsiteY8" fmla="*/ 742880 h 4492350"/>
                <a:gd name="connsiteX9" fmla="*/ 932867 w 3638574"/>
                <a:gd name="connsiteY9" fmla="*/ 1924493 h 4492350"/>
                <a:gd name="connsiteX10" fmla="*/ 1037607 w 3638574"/>
                <a:gd name="connsiteY10" fmla="*/ 857226 h 4492350"/>
                <a:gd name="connsiteX11" fmla="*/ 1138710 w 3638574"/>
                <a:gd name="connsiteY11" fmla="*/ 2026621 h 4492350"/>
                <a:gd name="connsiteX12" fmla="*/ 1646038 w 3638574"/>
                <a:gd name="connsiteY12" fmla="*/ 2198532 h 4492350"/>
                <a:gd name="connsiteX13" fmla="*/ 1900430 w 3638574"/>
                <a:gd name="connsiteY13" fmla="*/ 0 h 4492350"/>
                <a:gd name="connsiteX14" fmla="*/ 1971873 w 3638574"/>
                <a:gd name="connsiteY14" fmla="*/ 986216 h 4492350"/>
                <a:gd name="connsiteX15" fmla="*/ 1826002 w 3638574"/>
                <a:gd name="connsiteY15" fmla="*/ 2060385 h 4492350"/>
                <a:gd name="connsiteX16" fmla="*/ 2001533 w 3638574"/>
                <a:gd name="connsiteY16" fmla="*/ 3046321 h 4492350"/>
                <a:gd name="connsiteX17" fmla="*/ 2591546 w 3638574"/>
                <a:gd name="connsiteY17" fmla="*/ 2519916 h 4492350"/>
                <a:gd name="connsiteX18" fmla="*/ 2857733 w 3638574"/>
                <a:gd name="connsiteY18" fmla="*/ 1291762 h 4492350"/>
                <a:gd name="connsiteX19" fmla="*/ 2750848 w 3638574"/>
                <a:gd name="connsiteY19" fmla="*/ 2383091 h 4492350"/>
                <a:gd name="connsiteX20" fmla="*/ 3638574 w 3638574"/>
                <a:gd name="connsiteY20" fmla="*/ 1124252 h 4492350"/>
                <a:gd name="connsiteX21" fmla="*/ 2166244 w 3638574"/>
                <a:gd name="connsiteY21" fmla="*/ 3370521 h 4492350"/>
                <a:gd name="connsiteX22" fmla="*/ 2121509 w 3638574"/>
                <a:gd name="connsiteY22" fmla="*/ 3808660 h 4492350"/>
                <a:gd name="connsiteX23" fmla="*/ 3261397 w 3638574"/>
                <a:gd name="connsiteY23" fmla="*/ 3094074 h 4492350"/>
                <a:gd name="connsiteX24" fmla="*/ 2138356 w 3638574"/>
                <a:gd name="connsiteY24" fmla="*/ 4030951 h 4492350"/>
                <a:gd name="connsiteX25" fmla="*/ 2176877 w 3638574"/>
                <a:gd name="connsiteY25" fmla="*/ 4476307 h 4492350"/>
                <a:gd name="connsiteX26" fmla="*/ 2162233 w 3638574"/>
                <a:gd name="connsiteY26" fmla="*/ 4491415 h 4492350"/>
                <a:gd name="connsiteX27" fmla="*/ 1687779 w 3638574"/>
                <a:gd name="connsiteY27" fmla="*/ 4492350 h 44923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</a:cxnLst>
              <a:rect l="l" t="t" r="r" b="b"/>
              <a:pathLst>
                <a:path w="3638574" h="4492350">
                  <a:moveTo>
                    <a:pt x="1687779" y="4492350"/>
                  </a:moveTo>
                  <a:cubicBezTo>
                    <a:pt x="1649353" y="4280693"/>
                    <a:pt x="1685297" y="4020910"/>
                    <a:pt x="1703018" y="3785190"/>
                  </a:cubicBezTo>
                  <a:lnTo>
                    <a:pt x="1239812" y="3369121"/>
                  </a:lnTo>
                  <a:cubicBezTo>
                    <a:pt x="710236" y="3436368"/>
                    <a:pt x="325039" y="3138656"/>
                    <a:pt x="0" y="2917145"/>
                  </a:cubicBezTo>
                  <a:cubicBezTo>
                    <a:pt x="370399" y="3119320"/>
                    <a:pt x="1037576" y="3333525"/>
                    <a:pt x="1087133" y="3238920"/>
                  </a:cubicBezTo>
                  <a:cubicBezTo>
                    <a:pt x="945521" y="3141082"/>
                    <a:pt x="539214" y="2730422"/>
                    <a:pt x="389581" y="2412005"/>
                  </a:cubicBezTo>
                  <a:cubicBezTo>
                    <a:pt x="859682" y="2946896"/>
                    <a:pt x="1430048" y="3277253"/>
                    <a:pt x="1719677" y="3519376"/>
                  </a:cubicBezTo>
                  <a:cubicBezTo>
                    <a:pt x="1735906" y="3304113"/>
                    <a:pt x="1659893" y="2776030"/>
                    <a:pt x="1627995" y="2400346"/>
                  </a:cubicBezTo>
                  <a:cubicBezTo>
                    <a:pt x="725782" y="2160678"/>
                    <a:pt x="172484" y="1536000"/>
                    <a:pt x="4198" y="742880"/>
                  </a:cubicBezTo>
                  <a:cubicBezTo>
                    <a:pt x="248250" y="1210277"/>
                    <a:pt x="456205" y="1649601"/>
                    <a:pt x="932867" y="1924493"/>
                  </a:cubicBezTo>
                  <a:cubicBezTo>
                    <a:pt x="1158949" y="1666327"/>
                    <a:pt x="1108304" y="1211645"/>
                    <a:pt x="1037607" y="857226"/>
                  </a:cubicBezTo>
                  <a:cubicBezTo>
                    <a:pt x="1222371" y="1153446"/>
                    <a:pt x="1266767" y="1586023"/>
                    <a:pt x="1138710" y="2026621"/>
                  </a:cubicBezTo>
                  <a:cubicBezTo>
                    <a:pt x="1250538" y="2109256"/>
                    <a:pt x="1570304" y="2252254"/>
                    <a:pt x="1646038" y="2198532"/>
                  </a:cubicBezTo>
                  <a:cubicBezTo>
                    <a:pt x="1690527" y="1476450"/>
                    <a:pt x="1904067" y="874481"/>
                    <a:pt x="1900430" y="0"/>
                  </a:cubicBezTo>
                  <a:cubicBezTo>
                    <a:pt x="1976693" y="192349"/>
                    <a:pt x="2015482" y="645373"/>
                    <a:pt x="1971873" y="986216"/>
                  </a:cubicBezTo>
                  <a:cubicBezTo>
                    <a:pt x="1947436" y="1177213"/>
                    <a:pt x="1846749" y="1657958"/>
                    <a:pt x="1826002" y="2060385"/>
                  </a:cubicBezTo>
                  <a:cubicBezTo>
                    <a:pt x="1811014" y="2351099"/>
                    <a:pt x="1951043" y="3007770"/>
                    <a:pt x="2001533" y="3046321"/>
                  </a:cubicBezTo>
                  <a:cubicBezTo>
                    <a:pt x="2041794" y="3055338"/>
                    <a:pt x="2575349" y="2567047"/>
                    <a:pt x="2591546" y="2519916"/>
                  </a:cubicBezTo>
                  <a:cubicBezTo>
                    <a:pt x="2482423" y="2107858"/>
                    <a:pt x="2569814" y="1503293"/>
                    <a:pt x="2857733" y="1291762"/>
                  </a:cubicBezTo>
                  <a:cubicBezTo>
                    <a:pt x="2648315" y="1639496"/>
                    <a:pt x="2663487" y="2195777"/>
                    <a:pt x="2750848" y="2383091"/>
                  </a:cubicBezTo>
                  <a:cubicBezTo>
                    <a:pt x="3066810" y="2282983"/>
                    <a:pt x="3503085" y="1513118"/>
                    <a:pt x="3638574" y="1124252"/>
                  </a:cubicBezTo>
                  <a:cubicBezTo>
                    <a:pt x="3492704" y="2254009"/>
                    <a:pt x="2460505" y="2814271"/>
                    <a:pt x="2166244" y="3370521"/>
                  </a:cubicBezTo>
                  <a:cubicBezTo>
                    <a:pt x="2148523" y="3519377"/>
                    <a:pt x="2147251" y="3667825"/>
                    <a:pt x="2121509" y="3808660"/>
                  </a:cubicBezTo>
                  <a:cubicBezTo>
                    <a:pt x="2452144" y="3808286"/>
                    <a:pt x="3159362" y="3298984"/>
                    <a:pt x="3261397" y="3094074"/>
                  </a:cubicBezTo>
                  <a:cubicBezTo>
                    <a:pt x="3262702" y="3429094"/>
                    <a:pt x="2493987" y="3820258"/>
                    <a:pt x="2138356" y="4030951"/>
                  </a:cubicBezTo>
                  <a:cubicBezTo>
                    <a:pt x="2116438" y="4040371"/>
                    <a:pt x="2182753" y="4334539"/>
                    <a:pt x="2176877" y="4476307"/>
                  </a:cubicBezTo>
                  <a:cubicBezTo>
                    <a:pt x="2170659" y="4477332"/>
                    <a:pt x="2168451" y="4490390"/>
                    <a:pt x="2162233" y="4491415"/>
                  </a:cubicBezTo>
                  <a:lnTo>
                    <a:pt x="1687779" y="4492350"/>
                  </a:lnTo>
                  <a:close/>
                </a:path>
              </a:pathLst>
            </a:custGeom>
            <a:solidFill>
              <a:schemeClr val="tx2">
                <a:lumMod val="40000"/>
                <a:lumOff val="60000"/>
              </a:schemeClr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椭圆 9"/>
            <p:cNvSpPr>
              <a:spLocks noChangeAspect="1"/>
            </p:cNvSpPr>
            <p:nvPr/>
          </p:nvSpPr>
          <p:spPr>
            <a:xfrm>
              <a:off x="3067346" y="649312"/>
              <a:ext cx="576000" cy="576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TW" altLang="en-US" sz="14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做</a:t>
              </a:r>
              <a:endParaRPr lang="zh-CN" altLang="en-US" sz="82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椭圆 10"/>
            <p:cNvSpPr>
              <a:spLocks noChangeAspect="1"/>
            </p:cNvSpPr>
            <p:nvPr/>
          </p:nvSpPr>
          <p:spPr>
            <a:xfrm>
              <a:off x="4841930" y="1772770"/>
              <a:ext cx="576000" cy="576000"/>
            </a:xfrm>
            <a:prstGeom prst="ellipse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椭圆 11"/>
            <p:cNvSpPr>
              <a:spLocks noChangeAspect="1"/>
            </p:cNvSpPr>
            <p:nvPr/>
          </p:nvSpPr>
          <p:spPr>
            <a:xfrm>
              <a:off x="1203356" y="1393823"/>
              <a:ext cx="576000" cy="576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zh-TW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聽</a:t>
              </a:r>
              <a:endPara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3" name="椭圆 12"/>
            <p:cNvSpPr>
              <a:spLocks noChangeAspect="1"/>
            </p:cNvSpPr>
            <p:nvPr/>
          </p:nvSpPr>
          <p:spPr>
            <a:xfrm>
              <a:off x="1141364" y="3598492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TW" altLang="en-US" sz="14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寫</a:t>
              </a:r>
              <a:endPara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椭圆 13"/>
            <p:cNvSpPr>
              <a:spLocks noChangeAspect="1"/>
            </p:cNvSpPr>
            <p:nvPr/>
          </p:nvSpPr>
          <p:spPr>
            <a:xfrm>
              <a:off x="4553930" y="3743424"/>
              <a:ext cx="576000" cy="576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TW" altLang="en-US" sz="1400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讀</a:t>
              </a:r>
              <a:endParaRPr lang="zh-CN" altLang="en-US" sz="82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5" name="椭圆 14"/>
            <p:cNvSpPr>
              <a:spLocks noChangeAspect="1"/>
            </p:cNvSpPr>
            <p:nvPr/>
          </p:nvSpPr>
          <p:spPr>
            <a:xfrm>
              <a:off x="4008926" y="1985321"/>
              <a:ext cx="576000" cy="576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zh-TW" altLang="en-US" sz="14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說</a:t>
              </a:r>
              <a:endParaRPr lang="zh-CN" altLang="en-US" sz="14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椭圆 15"/>
            <p:cNvSpPr>
              <a:spLocks noChangeAspect="1"/>
            </p:cNvSpPr>
            <p:nvPr/>
          </p:nvSpPr>
          <p:spPr>
            <a:xfrm>
              <a:off x="2253739" y="1550864"/>
              <a:ext cx="576000" cy="576000"/>
            </a:xfrm>
            <a:prstGeom prst="ellipse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825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椭圆 16"/>
            <p:cNvSpPr>
              <a:spLocks noChangeAspect="1"/>
            </p:cNvSpPr>
            <p:nvPr/>
          </p:nvSpPr>
          <p:spPr>
            <a:xfrm>
              <a:off x="3379361" y="2780910"/>
              <a:ext cx="288000" cy="288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8" name="椭圆 17"/>
            <p:cNvSpPr>
              <a:spLocks noChangeAspect="1"/>
            </p:cNvSpPr>
            <p:nvPr/>
          </p:nvSpPr>
          <p:spPr>
            <a:xfrm>
              <a:off x="4512681" y="2699148"/>
              <a:ext cx="288000" cy="288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9" name="椭圆 18"/>
            <p:cNvSpPr>
              <a:spLocks noChangeAspect="1"/>
            </p:cNvSpPr>
            <p:nvPr/>
          </p:nvSpPr>
          <p:spPr>
            <a:xfrm>
              <a:off x="3012542" y="2126864"/>
              <a:ext cx="288000" cy="288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椭圆 19"/>
            <p:cNvSpPr>
              <a:spLocks noChangeAspect="1"/>
            </p:cNvSpPr>
            <p:nvPr/>
          </p:nvSpPr>
          <p:spPr>
            <a:xfrm>
              <a:off x="1996735" y="2576819"/>
              <a:ext cx="288000" cy="288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椭圆 20"/>
            <p:cNvSpPr>
              <a:spLocks noChangeAspect="1"/>
            </p:cNvSpPr>
            <p:nvPr/>
          </p:nvSpPr>
          <p:spPr>
            <a:xfrm>
              <a:off x="1828224" y="3455424"/>
              <a:ext cx="288000" cy="288000"/>
            </a:xfrm>
            <a:prstGeom prst="ellipse">
              <a:avLst/>
            </a:prstGeom>
            <a:solidFill>
              <a:schemeClr val="tx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2" name="椭圆 21"/>
            <p:cNvSpPr>
              <a:spLocks noChangeAspect="1"/>
            </p:cNvSpPr>
            <p:nvPr/>
          </p:nvSpPr>
          <p:spPr>
            <a:xfrm>
              <a:off x="2588233" y="4077918"/>
              <a:ext cx="288000" cy="288000"/>
            </a:xfrm>
            <a:prstGeom prst="ellipse">
              <a:avLst/>
            </a:prstGeom>
            <a:solidFill>
              <a:schemeClr val="bg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3" name="椭圆 22"/>
            <p:cNvSpPr>
              <a:spLocks noChangeAspect="1"/>
            </p:cNvSpPr>
            <p:nvPr/>
          </p:nvSpPr>
          <p:spPr>
            <a:xfrm>
              <a:off x="3516909" y="3743424"/>
              <a:ext cx="288000" cy="288000"/>
            </a:xfrm>
            <a:prstGeom prst="ellipse">
              <a:avLst/>
            </a:prstGeom>
            <a:solidFill>
              <a:schemeClr val="tx2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4" name="椭圆 23"/>
            <p:cNvSpPr>
              <a:spLocks noChangeAspect="1"/>
            </p:cNvSpPr>
            <p:nvPr/>
          </p:nvSpPr>
          <p:spPr>
            <a:xfrm>
              <a:off x="3954758" y="4550164"/>
              <a:ext cx="288000" cy="288000"/>
            </a:xfrm>
            <a:prstGeom prst="ellipse">
              <a:avLst/>
            </a:prstGeom>
            <a:solidFill>
              <a:schemeClr val="bg1"/>
            </a:solidFill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13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26" name="矩形 25"/>
          <p:cNvSpPr/>
          <p:nvPr/>
        </p:nvSpPr>
        <p:spPr>
          <a:xfrm>
            <a:off x="4799436" y="1272508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課前預習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4864920" y="1641840"/>
            <a:ext cx="3209516" cy="17727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TW" altLang="en-US" sz="14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期許學生能做到預習和複習，每次的複習都能夠依照</a:t>
            </a:r>
            <a:r>
              <a:rPr lang="zh-TW" altLang="en-US" sz="1400" dirty="0" smtClean="0">
                <a:solidFill>
                  <a:srgbClr val="FF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聽說讀寫做</a:t>
            </a:r>
            <a:r>
              <a:rPr lang="zh-TW" altLang="en-US" sz="14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順序：</a:t>
            </a:r>
            <a:endParaRPr lang="en-US" altLang="zh-TW" sz="14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TW" altLang="en-US" sz="14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聽ＣＤ，大聲唸，眼睛看，書寫練習，實際找人對話。</a:t>
            </a:r>
            <a:endParaRPr lang="en-US" altLang="zh-TW" sz="14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r>
              <a:rPr lang="zh-TW" altLang="en-US" sz="14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日一單字，慢慢增加</a:t>
            </a:r>
            <a:r>
              <a:rPr lang="zh-TW" altLang="en-US" sz="1400" dirty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單字量。</a:t>
            </a:r>
            <a:endParaRPr lang="en-US" altLang="zh-TW" sz="1400" dirty="0" smtClean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30000"/>
              </a:lnSpc>
            </a:pP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矩形 27"/>
          <p:cNvSpPr/>
          <p:nvPr/>
        </p:nvSpPr>
        <p:spPr>
          <a:xfrm>
            <a:off x="6469678" y="1250937"/>
            <a:ext cx="110799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>
                <a:latin typeface="微软雅黑" panose="020B0503020204020204" pitchFamily="34" charset="-122"/>
                <a:ea typeface="微软雅黑" panose="020B0503020204020204" pitchFamily="34" charset="-122"/>
              </a:rPr>
              <a:t>課後複習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矩形 28"/>
          <p:cNvSpPr/>
          <p:nvPr/>
        </p:nvSpPr>
        <p:spPr>
          <a:xfrm>
            <a:off x="4932040" y="3204990"/>
            <a:ext cx="133882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zh-TW" altLang="en-US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給家長的話</a:t>
            </a:r>
            <a:endParaRPr lang="zh-CN" altLang="en-US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0" name="文本框 26"/>
          <p:cNvSpPr txBox="1"/>
          <p:nvPr/>
        </p:nvSpPr>
        <p:spPr>
          <a:xfrm>
            <a:off x="4864920" y="3603270"/>
            <a:ext cx="3209516" cy="1185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30000"/>
              </a:lnSpc>
            </a:pPr>
            <a:r>
              <a:rPr lang="zh-TW" altLang="en-US" sz="1400" dirty="0" smtClean="0">
                <a:solidFill>
                  <a:schemeClr val="bg2">
                    <a:lumMod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希望家長多鼓勵孩子在家開口練習，多陪伴孩子學習，增加接觸英語的機會，多聽多看多說，相信一定會看見孩子的進步。</a:t>
            </a:r>
            <a:endParaRPr lang="zh-CN" altLang="en-US" sz="1400" dirty="0">
              <a:solidFill>
                <a:schemeClr val="bg2">
                  <a:lumMod val="2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019374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Tm="6000">
        <p:fade/>
      </p:transition>
    </mc:Choice>
    <mc:Fallback xmlns="">
      <p:transition spd="med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28" grpId="0"/>
      <p:bldP spid="29" grpId="0"/>
      <p:bldP spid="30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ZHO13yzUCaepRpRzBw5w"/>
</p:tagLst>
</file>

<file path=ppt/theme/theme1.xml><?xml version="1.0" encoding="utf-8"?>
<a:theme xmlns:a="http://schemas.openxmlformats.org/drawingml/2006/main" name="Office 主题​​">
  <a:themeElements>
    <a:clrScheme name="自定义 3723">
      <a:dk1>
        <a:srgbClr val="779B37"/>
      </a:dk1>
      <a:lt1>
        <a:srgbClr val="84B3A3"/>
      </a:lt1>
      <a:dk2>
        <a:srgbClr val="779B37"/>
      </a:dk2>
      <a:lt2>
        <a:srgbClr val="84B3A3"/>
      </a:lt2>
      <a:accent1>
        <a:srgbClr val="000000"/>
      </a:accent1>
      <a:accent2>
        <a:srgbClr val="FFFFFF"/>
      </a:accent2>
      <a:accent3>
        <a:srgbClr val="5F5F5F"/>
      </a:accent3>
      <a:accent4>
        <a:srgbClr val="080808"/>
      </a:accent4>
      <a:accent5>
        <a:srgbClr val="080808"/>
      </a:accent5>
      <a:accent6>
        <a:srgbClr val="080808"/>
      </a:accent6>
      <a:hlink>
        <a:srgbClr val="080808"/>
      </a:hlink>
      <a:folHlink>
        <a:srgbClr val="080808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10</TotalTime>
  <Words>305</Words>
  <Application>Microsoft Office PowerPoint</Application>
  <PresentationFormat>如螢幕大小 (16:9)</PresentationFormat>
  <Paragraphs>84</Paragraphs>
  <Slides>12</Slides>
  <Notes>10</Notes>
  <HiddenSlides>0</HiddenSlides>
  <MMClips>0</MMClips>
  <ScaleCrop>false</ScaleCrop>
  <HeadingPairs>
    <vt:vector size="4" baseType="variant">
      <vt:variant>
        <vt:lpstr>佈景主題</vt:lpstr>
      </vt:variant>
      <vt:variant>
        <vt:i4>1</vt:i4>
      </vt:variant>
      <vt:variant>
        <vt:lpstr>投影片標題</vt:lpstr>
      </vt:variant>
      <vt:variant>
        <vt:i4>12</vt:i4>
      </vt:variant>
    </vt:vector>
  </HeadingPairs>
  <TitlesOfParts>
    <vt:vector size="13" baseType="lpstr">
      <vt:lpstr>Office 主题​​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  <vt:lpstr>PowerPoint 簡報</vt:lpstr>
    </vt:vector>
  </TitlesOfParts>
  <Company>微软中国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user</dc:creator>
  <cp:lastModifiedBy>user</cp:lastModifiedBy>
  <cp:revision>1976</cp:revision>
  <dcterms:created xsi:type="dcterms:W3CDTF">2014-06-06T07:22:15Z</dcterms:created>
  <dcterms:modified xsi:type="dcterms:W3CDTF">2018-09-05T08:08:34Z</dcterms:modified>
</cp:coreProperties>
</file>